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0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6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  <p:sldMasterId id="2147483733" r:id="rId2"/>
  </p:sldMasterIdLst>
  <p:notesMasterIdLst>
    <p:notesMasterId r:id="rId20"/>
  </p:notesMasterIdLst>
  <p:sldIdLst>
    <p:sldId id="423" r:id="rId3"/>
    <p:sldId id="285" r:id="rId4"/>
    <p:sldId id="290" r:id="rId5"/>
    <p:sldId id="265" r:id="rId6"/>
    <p:sldId id="417" r:id="rId7"/>
    <p:sldId id="306" r:id="rId8"/>
    <p:sldId id="448" r:id="rId9"/>
    <p:sldId id="853" r:id="rId10"/>
    <p:sldId id="262" r:id="rId11"/>
    <p:sldId id="291" r:id="rId12"/>
    <p:sldId id="851" r:id="rId13"/>
    <p:sldId id="393" r:id="rId14"/>
    <p:sldId id="310" r:id="rId15"/>
    <p:sldId id="852" r:id="rId16"/>
    <p:sldId id="428" r:id="rId17"/>
    <p:sldId id="429" r:id="rId18"/>
    <p:sldId id="389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F17579-D51E-4968-B072-F870A8B1FF5B}" v="97" dt="2025-09-14T04:03:46.8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05"/>
    <p:restoredTop sz="94648"/>
  </p:normalViewPr>
  <p:slideViewPr>
    <p:cSldViewPr snapToGrid="0">
      <p:cViewPr varScale="1">
        <p:scale>
          <a:sx n="97" d="100"/>
          <a:sy n="97" d="100"/>
        </p:scale>
        <p:origin x="1140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gassy, Tassio" userId="341a4127-2e3a-4ae5-8945-f6fce443aa8f" providerId="ADAL" clId="{CDF17579-D51E-4968-B072-F870A8B1FF5B}"/>
    <pc:docChg chg="undo custSel addSld modSld">
      <pc:chgData name="Magassy, Tassio" userId="341a4127-2e3a-4ae5-8945-f6fce443aa8f" providerId="ADAL" clId="{CDF17579-D51E-4968-B072-F870A8B1FF5B}" dt="2025-09-14T04:04:50.903" v="710" actId="1076"/>
      <pc:docMkLst>
        <pc:docMk/>
      </pc:docMkLst>
      <pc:sldChg chg="addSp delSp modSp mod">
        <pc:chgData name="Magassy, Tassio" userId="341a4127-2e3a-4ae5-8945-f6fce443aa8f" providerId="ADAL" clId="{CDF17579-D51E-4968-B072-F870A8B1FF5B}" dt="2025-09-02T04:09:48.025" v="682"/>
        <pc:sldMkLst>
          <pc:docMk/>
          <pc:sldMk cId="3714918119" sldId="262"/>
        </pc:sldMkLst>
        <pc:spChg chg="add mod">
          <ac:chgData name="Magassy, Tassio" userId="341a4127-2e3a-4ae5-8945-f6fce443aa8f" providerId="ADAL" clId="{CDF17579-D51E-4968-B072-F870A8B1FF5B}" dt="2025-09-02T04:09:48.025" v="682"/>
          <ac:spMkLst>
            <pc:docMk/>
            <pc:sldMk cId="3714918119" sldId="262"/>
            <ac:spMk id="3" creationId="{E56DB6FF-532B-D6FC-3DF6-E202F1A7B863}"/>
          </ac:spMkLst>
        </pc:spChg>
      </pc:sldChg>
      <pc:sldChg chg="addSp delSp modSp mod">
        <pc:chgData name="Magassy, Tassio" userId="341a4127-2e3a-4ae5-8945-f6fce443aa8f" providerId="ADAL" clId="{CDF17579-D51E-4968-B072-F870A8B1FF5B}" dt="2025-09-02T04:09:02.639" v="677" actId="1038"/>
        <pc:sldMkLst>
          <pc:docMk/>
          <pc:sldMk cId="755607211" sldId="285"/>
        </pc:sldMkLst>
        <pc:spChg chg="add mod">
          <ac:chgData name="Magassy, Tassio" userId="341a4127-2e3a-4ae5-8945-f6fce443aa8f" providerId="ADAL" clId="{CDF17579-D51E-4968-B072-F870A8B1FF5B}" dt="2025-09-02T04:09:02.639" v="677" actId="1038"/>
          <ac:spMkLst>
            <pc:docMk/>
            <pc:sldMk cId="755607211" sldId="285"/>
            <ac:spMk id="7" creationId="{3CF9BA08-9AC5-5B20-1FAB-B79296149052}"/>
          </ac:spMkLst>
        </pc:spChg>
      </pc:sldChg>
      <pc:sldChg chg="addSp delSp modSp mod">
        <pc:chgData name="Magassy, Tassio" userId="341a4127-2e3a-4ae5-8945-f6fce443aa8f" providerId="ADAL" clId="{CDF17579-D51E-4968-B072-F870A8B1FF5B}" dt="2025-09-02T04:10:23.953" v="691" actId="478"/>
        <pc:sldMkLst>
          <pc:docMk/>
          <pc:sldMk cId="3772698167" sldId="291"/>
        </pc:sldMkLst>
      </pc:sldChg>
      <pc:sldChg chg="addSp delSp modSp mod">
        <pc:chgData name="Magassy, Tassio" userId="341a4127-2e3a-4ae5-8945-f6fce443aa8f" providerId="ADAL" clId="{CDF17579-D51E-4968-B072-F870A8B1FF5B}" dt="2025-09-02T04:06:40.396" v="629" actId="478"/>
        <pc:sldMkLst>
          <pc:docMk/>
          <pc:sldMk cId="448378938" sldId="306"/>
        </pc:sldMkLst>
        <pc:spChg chg="add del mod">
          <ac:chgData name="Magassy, Tassio" userId="341a4127-2e3a-4ae5-8945-f6fce443aa8f" providerId="ADAL" clId="{CDF17579-D51E-4968-B072-F870A8B1FF5B}" dt="2025-09-02T04:06:38.770" v="628"/>
          <ac:spMkLst>
            <pc:docMk/>
            <pc:sldMk cId="448378938" sldId="306"/>
            <ac:spMk id="2" creationId="{F7AC5682-7867-48A8-E55A-17BA1FB391C0}"/>
          </ac:spMkLst>
        </pc:spChg>
      </pc:sldChg>
      <pc:sldChg chg="addSp modSp">
        <pc:chgData name="Magassy, Tassio" userId="341a4127-2e3a-4ae5-8945-f6fce443aa8f" providerId="ADAL" clId="{CDF17579-D51E-4968-B072-F870A8B1FF5B}" dt="2025-09-02T04:07:18.733" v="639"/>
        <pc:sldMkLst>
          <pc:docMk/>
          <pc:sldMk cId="1568857597" sldId="310"/>
        </pc:sldMkLst>
        <pc:spChg chg="add mod">
          <ac:chgData name="Magassy, Tassio" userId="341a4127-2e3a-4ae5-8945-f6fce443aa8f" providerId="ADAL" clId="{CDF17579-D51E-4968-B072-F870A8B1FF5B}" dt="2025-09-02T04:07:18.733" v="639"/>
          <ac:spMkLst>
            <pc:docMk/>
            <pc:sldMk cId="1568857597" sldId="310"/>
            <ac:spMk id="6" creationId="{7E46B2F5-C09A-A020-43F7-4AAD91DCF5F1}"/>
          </ac:spMkLst>
        </pc:spChg>
      </pc:sldChg>
      <pc:sldChg chg="addSp modSp">
        <pc:chgData name="Magassy, Tassio" userId="341a4127-2e3a-4ae5-8945-f6fce443aa8f" providerId="ADAL" clId="{CDF17579-D51E-4968-B072-F870A8B1FF5B}" dt="2025-09-02T04:10:09.871" v="689"/>
        <pc:sldMkLst>
          <pc:docMk/>
          <pc:sldMk cId="3896976134" sldId="389"/>
        </pc:sldMkLst>
        <pc:spChg chg="add mod">
          <ac:chgData name="Magassy, Tassio" userId="341a4127-2e3a-4ae5-8945-f6fce443aa8f" providerId="ADAL" clId="{CDF17579-D51E-4968-B072-F870A8B1FF5B}" dt="2025-09-02T04:10:09.871" v="689"/>
          <ac:spMkLst>
            <pc:docMk/>
            <pc:sldMk cId="3896976134" sldId="389"/>
            <ac:spMk id="3" creationId="{3D55C735-EC04-0D6E-9123-0C1A15A78F04}"/>
          </ac:spMkLst>
        </pc:spChg>
      </pc:sldChg>
      <pc:sldChg chg="addSp modSp">
        <pc:chgData name="Magassy, Tassio" userId="341a4127-2e3a-4ae5-8945-f6fce443aa8f" providerId="ADAL" clId="{CDF17579-D51E-4968-B072-F870A8B1FF5B}" dt="2025-09-02T04:09:51.404" v="683"/>
        <pc:sldMkLst>
          <pc:docMk/>
          <pc:sldMk cId="2463897729" sldId="393"/>
        </pc:sldMkLst>
        <pc:spChg chg="add mod">
          <ac:chgData name="Magassy, Tassio" userId="341a4127-2e3a-4ae5-8945-f6fce443aa8f" providerId="ADAL" clId="{CDF17579-D51E-4968-B072-F870A8B1FF5B}" dt="2025-09-02T04:09:51.404" v="683"/>
          <ac:spMkLst>
            <pc:docMk/>
            <pc:sldMk cId="2463897729" sldId="393"/>
            <ac:spMk id="5" creationId="{CAD74896-55C8-B3DB-E00E-4136009695FE}"/>
          </ac:spMkLst>
        </pc:spChg>
      </pc:sldChg>
      <pc:sldChg chg="addSp delSp modSp mod">
        <pc:chgData name="Magassy, Tassio" userId="341a4127-2e3a-4ae5-8945-f6fce443aa8f" providerId="ADAL" clId="{CDF17579-D51E-4968-B072-F870A8B1FF5B}" dt="2025-09-02T04:08:23.053" v="657" actId="1076"/>
        <pc:sldMkLst>
          <pc:docMk/>
          <pc:sldMk cId="2000042312" sldId="417"/>
        </pc:sldMkLst>
        <pc:spChg chg="add mod">
          <ac:chgData name="Magassy, Tassio" userId="341a4127-2e3a-4ae5-8945-f6fce443aa8f" providerId="ADAL" clId="{CDF17579-D51E-4968-B072-F870A8B1FF5B}" dt="2025-09-02T04:08:23.053" v="657" actId="1076"/>
          <ac:spMkLst>
            <pc:docMk/>
            <pc:sldMk cId="2000042312" sldId="417"/>
            <ac:spMk id="14" creationId="{58DF9CB1-A1E0-8769-E093-DDB4BFD67D86}"/>
          </ac:spMkLst>
        </pc:spChg>
      </pc:sldChg>
      <pc:sldChg chg="addSp delSp modSp mod">
        <pc:chgData name="Magassy, Tassio" userId="341a4127-2e3a-4ae5-8945-f6fce443aa8f" providerId="ADAL" clId="{CDF17579-D51E-4968-B072-F870A8B1FF5B}" dt="2025-09-02T04:10:02.847" v="685"/>
        <pc:sldMkLst>
          <pc:docMk/>
          <pc:sldMk cId="2011722858" sldId="428"/>
        </pc:sldMkLst>
        <pc:spChg chg="mod">
          <ac:chgData name="Magassy, Tassio" userId="341a4127-2e3a-4ae5-8945-f6fce443aa8f" providerId="ADAL" clId="{CDF17579-D51E-4968-B072-F870A8B1FF5B}" dt="2025-09-02T04:04:33.129" v="579" actId="1035"/>
          <ac:spMkLst>
            <pc:docMk/>
            <pc:sldMk cId="2011722858" sldId="428"/>
            <ac:spMk id="6" creationId="{BEB7384F-6EAF-A285-7F80-6674A00506A6}"/>
          </ac:spMkLst>
        </pc:spChg>
        <pc:spChg chg="add mod">
          <ac:chgData name="Magassy, Tassio" userId="341a4127-2e3a-4ae5-8945-f6fce443aa8f" providerId="ADAL" clId="{CDF17579-D51E-4968-B072-F870A8B1FF5B}" dt="2025-09-02T04:10:02.847" v="685"/>
          <ac:spMkLst>
            <pc:docMk/>
            <pc:sldMk cId="2011722858" sldId="428"/>
            <ac:spMk id="44" creationId="{27C9C289-96C7-861D-B158-D08DDA89CDA9}"/>
          </ac:spMkLst>
        </pc:spChg>
      </pc:sldChg>
      <pc:sldChg chg="addSp delSp modSp mod">
        <pc:chgData name="Magassy, Tassio" userId="341a4127-2e3a-4ae5-8945-f6fce443aa8f" providerId="ADAL" clId="{CDF17579-D51E-4968-B072-F870A8B1FF5B}" dt="2025-09-02T04:10:06.684" v="688"/>
        <pc:sldMkLst>
          <pc:docMk/>
          <pc:sldMk cId="2724677685" sldId="429"/>
        </pc:sldMkLst>
        <pc:spChg chg="add mod">
          <ac:chgData name="Magassy, Tassio" userId="341a4127-2e3a-4ae5-8945-f6fce443aa8f" providerId="ADAL" clId="{CDF17579-D51E-4968-B072-F870A8B1FF5B}" dt="2025-09-02T04:10:06.684" v="688"/>
          <ac:spMkLst>
            <pc:docMk/>
            <pc:sldMk cId="2724677685" sldId="429"/>
            <ac:spMk id="10" creationId="{26E28DD0-2CB6-1013-01DC-30244B06D3AC}"/>
          </ac:spMkLst>
        </pc:spChg>
        <pc:spChg chg="mod">
          <ac:chgData name="Magassy, Tassio" userId="341a4127-2e3a-4ae5-8945-f6fce443aa8f" providerId="ADAL" clId="{CDF17579-D51E-4968-B072-F870A8B1FF5B}" dt="2025-09-02T04:04:46.094" v="599" actId="20577"/>
          <ac:spMkLst>
            <pc:docMk/>
            <pc:sldMk cId="2724677685" sldId="429"/>
            <ac:spMk id="19" creationId="{9517BB49-36EB-CCC8-4A3E-ACDBE4B1B1A2}"/>
          </ac:spMkLst>
        </pc:spChg>
      </pc:sldChg>
      <pc:sldChg chg="addSp modSp mod">
        <pc:chgData name="Magassy, Tassio" userId="341a4127-2e3a-4ae5-8945-f6fce443aa8f" providerId="ADAL" clId="{CDF17579-D51E-4968-B072-F870A8B1FF5B}" dt="2025-09-02T04:09:35.800" v="680" actId="5793"/>
        <pc:sldMkLst>
          <pc:docMk/>
          <pc:sldMk cId="2486376671" sldId="448"/>
        </pc:sldMkLst>
        <pc:spChg chg="add mod">
          <ac:chgData name="Magassy, Tassio" userId="341a4127-2e3a-4ae5-8945-f6fce443aa8f" providerId="ADAL" clId="{CDF17579-D51E-4968-B072-F870A8B1FF5B}" dt="2025-09-02T04:09:35.800" v="680" actId="5793"/>
          <ac:spMkLst>
            <pc:docMk/>
            <pc:sldMk cId="2486376671" sldId="448"/>
            <ac:spMk id="2" creationId="{E2A8E042-536B-C66A-2FF1-0706B79B467B}"/>
          </ac:spMkLst>
        </pc:spChg>
      </pc:sldChg>
      <pc:sldChg chg="modSp mod">
        <pc:chgData name="Magassy, Tassio" userId="341a4127-2e3a-4ae5-8945-f6fce443aa8f" providerId="ADAL" clId="{CDF17579-D51E-4968-B072-F870A8B1FF5B}" dt="2025-09-14T04:03:23.420" v="692" actId="20577"/>
        <pc:sldMkLst>
          <pc:docMk/>
          <pc:sldMk cId="2862932132" sldId="851"/>
        </pc:sldMkLst>
        <pc:spChg chg="mod">
          <ac:chgData name="Magassy, Tassio" userId="341a4127-2e3a-4ae5-8945-f6fce443aa8f" providerId="ADAL" clId="{CDF17579-D51E-4968-B072-F870A8B1FF5B}" dt="2025-09-02T04:05:47.649" v="610"/>
          <ac:spMkLst>
            <pc:docMk/>
            <pc:sldMk cId="2862932132" sldId="851"/>
            <ac:spMk id="2" creationId="{3E62F445-6D8E-B797-7048-B15BC62CD6A9}"/>
          </ac:spMkLst>
        </pc:spChg>
        <pc:graphicFrameChg chg="modGraphic">
          <ac:chgData name="Magassy, Tassio" userId="341a4127-2e3a-4ae5-8945-f6fce443aa8f" providerId="ADAL" clId="{CDF17579-D51E-4968-B072-F870A8B1FF5B}" dt="2025-09-14T04:03:23.420" v="692" actId="20577"/>
          <ac:graphicFrameMkLst>
            <pc:docMk/>
            <pc:sldMk cId="2862932132" sldId="851"/>
            <ac:graphicFrameMk id="7" creationId="{6C9331B0-CE0E-1A2E-C125-58C33BC5422D}"/>
          </ac:graphicFrameMkLst>
        </pc:graphicFrameChg>
      </pc:sldChg>
      <pc:sldChg chg="addSp delSp modSp mod">
        <pc:chgData name="Magassy, Tassio" userId="341a4127-2e3a-4ae5-8945-f6fce443aa8f" providerId="ADAL" clId="{CDF17579-D51E-4968-B072-F870A8B1FF5B}" dt="2025-09-14T04:04:50.903" v="710" actId="1076"/>
        <pc:sldMkLst>
          <pc:docMk/>
          <pc:sldMk cId="2264662802" sldId="852"/>
        </pc:sldMkLst>
        <pc:spChg chg="add del mod">
          <ac:chgData name="Magassy, Tassio" userId="341a4127-2e3a-4ae5-8945-f6fce443aa8f" providerId="ADAL" clId="{CDF17579-D51E-4968-B072-F870A8B1FF5B}" dt="2025-09-14T04:04:42.016" v="709" actId="478"/>
          <ac:spMkLst>
            <pc:docMk/>
            <pc:sldMk cId="2264662802" sldId="852"/>
            <ac:spMk id="3" creationId="{4655F9C4-7E00-C756-1B69-CF71DBA69060}"/>
          </ac:spMkLst>
        </pc:spChg>
        <pc:spChg chg="del">
          <ac:chgData name="Magassy, Tassio" userId="341a4127-2e3a-4ae5-8945-f6fce443aa8f" providerId="ADAL" clId="{CDF17579-D51E-4968-B072-F870A8B1FF5B}" dt="2025-09-14T04:04:42.016" v="709" actId="478"/>
          <ac:spMkLst>
            <pc:docMk/>
            <pc:sldMk cId="2264662802" sldId="852"/>
            <ac:spMk id="10" creationId="{F60CBBC0-2E22-E94D-7BAE-F2E47CEF883B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12" creationId="{E941BA64-2A88-2D4E-7AF1-B74DC5D07FDE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16" creationId="{C524345D-9237-D6AD-A37F-239E1D0180D9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17" creationId="{CD99963F-F452-8BE7-9AFF-E9329E160ECC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18" creationId="{F058E71C-E79E-8F80-6EBD-BC9471AAC4C5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26" creationId="{AC729F3E-E4F5-17F4-0447-36F671C89309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40" creationId="{FEACB45A-CEF6-F7D6-45E3-6DFD07901601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53" creationId="{32E3EEDC-43FA-C846-5D1F-632B9D1FE268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55" creationId="{C496E5EB-5BDB-9E8F-98D6-FAF407F0828C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57" creationId="{EF7D2515-2F5E-2462-C30A-7D3A9A62CA27}"/>
          </ac:spMkLst>
        </pc:spChg>
        <pc:spChg chg="mod">
          <ac:chgData name="Magassy, Tassio" userId="341a4127-2e3a-4ae5-8945-f6fce443aa8f" providerId="ADAL" clId="{CDF17579-D51E-4968-B072-F870A8B1FF5B}" dt="2025-09-14T04:04:50.903" v="710" actId="1076"/>
          <ac:spMkLst>
            <pc:docMk/>
            <pc:sldMk cId="2264662802" sldId="852"/>
            <ac:spMk id="58" creationId="{87FA576A-E6B8-8E7E-CCB0-218908BBF627}"/>
          </ac:spMkLst>
        </pc:spChg>
      </pc:sldChg>
      <pc:sldChg chg="addSp delSp modSp add mod">
        <pc:chgData name="Magassy, Tassio" userId="341a4127-2e3a-4ae5-8945-f6fce443aa8f" providerId="ADAL" clId="{CDF17579-D51E-4968-B072-F870A8B1FF5B}" dt="2025-09-02T04:07:00.910" v="638" actId="478"/>
        <pc:sldMkLst>
          <pc:docMk/>
          <pc:sldMk cId="1706789969" sldId="853"/>
        </pc:sldMkLst>
        <pc:spChg chg="mod">
          <ac:chgData name="Magassy, Tassio" userId="341a4127-2e3a-4ae5-8945-f6fce443aa8f" providerId="ADAL" clId="{CDF17579-D51E-4968-B072-F870A8B1FF5B}" dt="2025-09-02T04:06:59.625" v="637"/>
          <ac:spMkLst>
            <pc:docMk/>
            <pc:sldMk cId="1706789969" sldId="853"/>
            <ac:spMk id="2" creationId="{E6173646-3E67-D370-94A8-AE4FD17DC691}"/>
          </ac:spMkLst>
        </pc:spChg>
        <pc:spChg chg="mod">
          <ac:chgData name="Magassy, Tassio" userId="341a4127-2e3a-4ae5-8945-f6fce443aa8f" providerId="ADAL" clId="{CDF17579-D51E-4968-B072-F870A8B1FF5B}" dt="2025-09-02T00:55:32.133" v="22" actId="20577"/>
          <ac:spMkLst>
            <pc:docMk/>
            <pc:sldMk cId="1706789969" sldId="853"/>
            <ac:spMk id="5" creationId="{F87FBE73-892F-815C-BA76-B72E8298D7F8}"/>
          </ac:spMkLst>
        </pc:spChg>
        <pc:graphicFrameChg chg="add mod modGraphic">
          <ac:chgData name="Magassy, Tassio" userId="341a4127-2e3a-4ae5-8945-f6fce443aa8f" providerId="ADAL" clId="{CDF17579-D51E-4968-B072-F870A8B1FF5B}" dt="2025-09-02T03:56:20.038" v="565" actId="1036"/>
          <ac:graphicFrameMkLst>
            <pc:docMk/>
            <pc:sldMk cId="1706789969" sldId="853"/>
            <ac:graphicFrameMk id="4" creationId="{CEA63312-61CF-B025-7827-EE78EA3C53CA}"/>
          </ac:graphicFrameMkLst>
        </pc:graphicFrameChg>
        <pc:graphicFrameChg chg="mod modGraphic">
          <ac:chgData name="Magassy, Tassio" userId="341a4127-2e3a-4ae5-8945-f6fce443aa8f" providerId="ADAL" clId="{CDF17579-D51E-4968-B072-F870A8B1FF5B}" dt="2025-09-02T03:56:20.038" v="565" actId="1036"/>
          <ac:graphicFrameMkLst>
            <pc:docMk/>
            <pc:sldMk cId="1706789969" sldId="853"/>
            <ac:graphicFrameMk id="7" creationId="{066ABAD9-4830-D535-F467-364CBD6D816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wsponlinenam-my.sharepoint.com/personal/tassio_magassy_wsp_com/Documents/projects/wfh_prod/momo_2025/work_prod_result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wsponlinenam-my.sharepoint.com/personal/tassio_magassy_wsp_com/Documents/projects/wfh_prod/momo_2025/work_prod_result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Sheet1!$F$1</c:f>
          <c:strCache>
            <c:ptCount val="1"/>
            <c:pt idx="0">
              <c:v>Productivity Change: Pre-pandemic to Wave 3 (N=979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555734750023718"/>
          <c:y val="0.12699300551259746"/>
          <c:w val="0.32136822882079497"/>
          <c:h val="0.84607926821099666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C$2</c:f>
              <c:strCache>
                <c:ptCount val="1"/>
                <c:pt idx="0">
                  <c:v>Significantly lowe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858457451854662E-7"/>
                  <c:y val="-6.301257307528381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1867469879518"/>
                      <c:h val="2.75158513432852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7DE-4F7B-91FA-A4B5DE0C6A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</c:f>
              <c:strCache>
                <c:ptCount val="1"/>
                <c:pt idx="0">
                  <c:v>c</c:v>
                </c:pt>
              </c:strCache>
            </c:strRef>
          </c:cat>
          <c:val>
            <c:numRef>
              <c:f>Sheet1!$E$2</c:f>
              <c:numCache>
                <c:formatCode>0.0%</c:formatCode>
                <c:ptCount val="1"/>
                <c:pt idx="0">
                  <c:v>2.04290091930541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DE-4F7B-91FA-A4B5DE0C6A4F}"/>
            </c:ext>
          </c:extLst>
        </c:ser>
        <c:ser>
          <c:idx val="0"/>
          <c:order val="1"/>
          <c:tx>
            <c:strRef>
              <c:f>Sheet1!$C$3</c:f>
              <c:strCache>
                <c:ptCount val="1"/>
                <c:pt idx="0">
                  <c:v>Somewhat low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</c:f>
              <c:strCache>
                <c:ptCount val="1"/>
                <c:pt idx="0">
                  <c:v>c</c:v>
                </c:pt>
              </c:strCache>
            </c:strRef>
          </c:cat>
          <c:val>
            <c:numRef>
              <c:f>Sheet1!$E$3</c:f>
              <c:numCache>
                <c:formatCode>0.0%</c:formatCode>
                <c:ptCount val="1"/>
                <c:pt idx="0">
                  <c:v>0.11440245148110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DE-4F7B-91FA-A4B5DE0C6A4F}"/>
            </c:ext>
          </c:extLst>
        </c:ser>
        <c:ser>
          <c:idx val="1"/>
          <c:order val="2"/>
          <c:tx>
            <c:strRef>
              <c:f>Sheet1!$C$4</c:f>
              <c:strCache>
                <c:ptCount val="1"/>
                <c:pt idx="0">
                  <c:v>About the sam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</c:f>
              <c:strCache>
                <c:ptCount val="1"/>
                <c:pt idx="0">
                  <c:v>c</c:v>
                </c:pt>
              </c:strCache>
            </c:strRef>
          </c:cat>
          <c:val>
            <c:numRef>
              <c:f>Sheet1!$E$4</c:f>
              <c:numCache>
                <c:formatCode>0.0%</c:formatCode>
                <c:ptCount val="1"/>
                <c:pt idx="0">
                  <c:v>0.59856996935648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DE-4F7B-91FA-A4B5DE0C6A4F}"/>
            </c:ext>
          </c:extLst>
        </c:ser>
        <c:ser>
          <c:idx val="3"/>
          <c:order val="3"/>
          <c:tx>
            <c:strRef>
              <c:f>Sheet1!$C$5</c:f>
              <c:strCache>
                <c:ptCount val="1"/>
                <c:pt idx="0">
                  <c:v>Somewhat high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</c:f>
              <c:strCache>
                <c:ptCount val="1"/>
                <c:pt idx="0">
                  <c:v>c</c:v>
                </c:pt>
              </c:strCache>
            </c:strRef>
          </c:cat>
          <c:val>
            <c:numRef>
              <c:f>Sheet1!$E$5</c:f>
              <c:numCache>
                <c:formatCode>0.0%</c:formatCode>
                <c:ptCount val="1"/>
                <c:pt idx="0">
                  <c:v>0.19203268641470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DE-4F7B-91FA-A4B5DE0C6A4F}"/>
            </c:ext>
          </c:extLst>
        </c:ser>
        <c:ser>
          <c:idx val="4"/>
          <c:order val="4"/>
          <c:tx>
            <c:strRef>
              <c:f>Sheet1!$C$6</c:f>
              <c:strCache>
                <c:ptCount val="1"/>
                <c:pt idx="0">
                  <c:v>Significantly high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1</c:f>
              <c:strCache>
                <c:ptCount val="1"/>
                <c:pt idx="0">
                  <c:v>c</c:v>
                </c:pt>
              </c:strCache>
            </c:strRef>
          </c:cat>
          <c:val>
            <c:numRef>
              <c:f>Sheet1!$E$6</c:f>
              <c:numCache>
                <c:formatCode>0.0%</c:formatCode>
                <c:ptCount val="1"/>
                <c:pt idx="0">
                  <c:v>7.45658835546476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DE-4F7B-91FA-A4B5DE0C6A4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627532376"/>
        <c:axId val="1627531656"/>
      </c:barChart>
      <c:catAx>
        <c:axId val="1627532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27531656"/>
        <c:crosses val="autoZero"/>
        <c:auto val="1"/>
        <c:lblAlgn val="ctr"/>
        <c:lblOffset val="100"/>
        <c:noMultiLvlLbl val="0"/>
      </c:catAx>
      <c:valAx>
        <c:axId val="162753165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532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196206344919286"/>
          <c:y val="0.35591324526783424"/>
          <c:w val="0.42220680198616328"/>
          <c:h val="0.388238623311021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Sheet1!$C$10</c:f>
          <c:strCache>
            <c:ptCount val="1"/>
            <c:pt idx="0">
              <c:v>Telecommuting Frequency in Previous Week (N=979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485200209223876"/>
          <c:y val="0.16817804376840553"/>
          <c:w val="0.85598423221271258"/>
          <c:h val="0.667911643710374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E$11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C$12:$C$19</c:f>
              <c:numCache>
                <c:formatCode>General</c:formatCod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</c:numCache>
            </c:numRef>
          </c:cat>
          <c:val>
            <c:numRef>
              <c:f>Sheet1!$E$12:$E$19</c:f>
              <c:numCache>
                <c:formatCode>0.0%</c:formatCode>
                <c:ptCount val="8"/>
                <c:pt idx="0">
                  <c:v>0.26843657817109146</c:v>
                </c:pt>
                <c:pt idx="1">
                  <c:v>8.5545722713864306E-2</c:v>
                </c:pt>
                <c:pt idx="2">
                  <c:v>8.9478859390363819E-2</c:v>
                </c:pt>
                <c:pt idx="3">
                  <c:v>8.1612586037364793E-2</c:v>
                </c:pt>
                <c:pt idx="4">
                  <c:v>9.3411996066863318E-2</c:v>
                </c:pt>
                <c:pt idx="5">
                  <c:v>0.33136676499508355</c:v>
                </c:pt>
                <c:pt idx="6">
                  <c:v>2.4582104228121928E-2</c:v>
                </c:pt>
                <c:pt idx="7">
                  <c:v>2.55653883972468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62-47CD-9355-D15E756754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16"/>
        <c:axId val="1627532376"/>
        <c:axId val="1627531656"/>
      </c:barChart>
      <c:catAx>
        <c:axId val="16275323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531656"/>
        <c:crosses val="autoZero"/>
        <c:auto val="1"/>
        <c:lblAlgn val="ctr"/>
        <c:lblOffset val="100"/>
        <c:noMultiLvlLbl val="0"/>
      </c:catAx>
      <c:valAx>
        <c:axId val="1627531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age</a:t>
                </a:r>
              </a:p>
            </c:rich>
          </c:tx>
          <c:layout>
            <c:manualLayout>
              <c:xMode val="edge"/>
              <c:yMode val="edge"/>
              <c:x val="5.2264815531950877E-3"/>
              <c:y val="0.393821789832950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532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521575-B63A-43D2-9E97-AB14AFAA5ABA}" type="doc">
      <dgm:prSet loTypeId="urn:microsoft.com/office/officeart/2005/8/layout/hChevron3" loCatId="process" qsTypeId="urn:microsoft.com/office/officeart/2005/8/quickstyle/simple1" qsCatId="simple" csTypeId="urn:microsoft.com/office/officeart/2005/8/colors/colorful1" csCatId="colorful" phldr="1"/>
      <dgm:spPr/>
    </dgm:pt>
    <dgm:pt modelId="{DB671E8B-5830-4256-9573-8D019448B6BE}">
      <dgm:prSet phldrT="[Text]" custT="1"/>
      <dgm:spPr/>
      <dgm:t>
        <a:bodyPr vert="horz"/>
        <a:lstStyle/>
        <a:p>
          <a:pPr rtl="0" eaLnBrk="1" latinLnBrk="0"/>
          <a:r>
            <a:rPr lang="en-US" sz="4800" b="1" dirty="0"/>
            <a:t>2,728</a:t>
          </a:r>
        </a:p>
      </dgm:t>
    </dgm:pt>
    <dgm:pt modelId="{A2850582-B8D2-46F0-B69B-2F3C9DAB614A}" type="parTrans" cxnId="{D0B41711-4E0F-42CE-95E9-45A5118842CA}">
      <dgm:prSet/>
      <dgm:spPr/>
      <dgm:t>
        <a:bodyPr/>
        <a:lstStyle/>
        <a:p>
          <a:endParaRPr lang="en-GB" sz="2000" b="1"/>
        </a:p>
      </dgm:t>
    </dgm:pt>
    <dgm:pt modelId="{5D036F94-C445-4799-9C96-46829DD4707F}" type="sibTrans" cxnId="{D0B41711-4E0F-42CE-95E9-45A5118842CA}">
      <dgm:prSet/>
      <dgm:spPr/>
      <dgm:t>
        <a:bodyPr/>
        <a:lstStyle/>
        <a:p>
          <a:endParaRPr lang="en-GB" sz="2000" b="1"/>
        </a:p>
      </dgm:t>
    </dgm:pt>
    <dgm:pt modelId="{7C043658-E7FB-4AF7-94E7-C3358453DE16}">
      <dgm:prSet phldrT="[Text]" custT="1"/>
      <dgm:spPr/>
      <dgm:t>
        <a:bodyPr vert="horz"/>
        <a:lstStyle/>
        <a:p>
          <a:pPr rtl="0" eaLnBrk="1" latinLnBrk="0"/>
          <a:r>
            <a:rPr lang="en-US" sz="2000" b="1" strike="sngStrike" dirty="0"/>
            <a:t>1,253 non-workers</a:t>
          </a:r>
        </a:p>
        <a:p>
          <a:pPr rtl="0" eaLnBrk="1" latinLnBrk="0"/>
          <a:r>
            <a:rPr lang="en-US" sz="2000" b="1" dirty="0"/>
            <a:t>1,475 workers</a:t>
          </a:r>
        </a:p>
      </dgm:t>
    </dgm:pt>
    <dgm:pt modelId="{583FBDD8-B81A-4EB3-B059-1C7B0E69C1B0}" type="parTrans" cxnId="{7F0BA7EB-992E-4897-B847-FACC44466799}">
      <dgm:prSet/>
      <dgm:spPr/>
      <dgm:t>
        <a:bodyPr/>
        <a:lstStyle/>
        <a:p>
          <a:endParaRPr lang="en-GB" sz="2000" b="1"/>
        </a:p>
      </dgm:t>
    </dgm:pt>
    <dgm:pt modelId="{9CC0AE5E-17A2-4A7D-8BD5-E8A7A55F34E3}" type="sibTrans" cxnId="{7F0BA7EB-992E-4897-B847-FACC44466799}">
      <dgm:prSet/>
      <dgm:spPr/>
      <dgm:t>
        <a:bodyPr/>
        <a:lstStyle/>
        <a:p>
          <a:endParaRPr lang="en-GB" sz="2000" b="1"/>
        </a:p>
      </dgm:t>
    </dgm:pt>
    <dgm:pt modelId="{BE53C7DF-27FB-4415-BBF1-846BAB5BCEE5}">
      <dgm:prSet phldrT="[Text]" custT="1"/>
      <dgm:spPr/>
      <dgm:t>
        <a:bodyPr vert="horz"/>
        <a:lstStyle/>
        <a:p>
          <a:pPr rtl="0" eaLnBrk="1" latinLnBrk="0"/>
          <a:r>
            <a:rPr lang="en-US" sz="2000" b="1" strike="sngStrike" dirty="0">
              <a:solidFill>
                <a:schemeClr val="bg1"/>
              </a:solidFill>
            </a:rPr>
            <a:t>421: no</a:t>
          </a:r>
        </a:p>
        <a:p>
          <a:pPr rtl="0" eaLnBrk="1" latinLnBrk="0"/>
          <a:r>
            <a:rPr lang="en-US" sz="2000" b="1" dirty="0">
              <a:solidFill>
                <a:schemeClr val="bg1"/>
              </a:solidFill>
            </a:rPr>
            <a:t>1,054: yes </a:t>
          </a:r>
        </a:p>
      </dgm:t>
    </dgm:pt>
    <dgm:pt modelId="{EBB8B2CB-77EB-4DFA-9761-9196504BC52B}" type="parTrans" cxnId="{925B87F0-38FD-42C9-859D-A9B2EE506EC3}">
      <dgm:prSet/>
      <dgm:spPr/>
      <dgm:t>
        <a:bodyPr/>
        <a:lstStyle/>
        <a:p>
          <a:endParaRPr lang="en-GB" sz="2000" b="1"/>
        </a:p>
      </dgm:t>
    </dgm:pt>
    <dgm:pt modelId="{4AC0D0F8-DA06-466F-8654-1997490AAC11}" type="sibTrans" cxnId="{925B87F0-38FD-42C9-859D-A9B2EE506EC3}">
      <dgm:prSet/>
      <dgm:spPr/>
      <dgm:t>
        <a:bodyPr/>
        <a:lstStyle/>
        <a:p>
          <a:endParaRPr lang="en-GB" sz="2000" b="1"/>
        </a:p>
      </dgm:t>
    </dgm:pt>
    <dgm:pt modelId="{3A9DBB77-2DE9-4925-BA8D-21B9170DB3CD}">
      <dgm:prSet phldrT="[Text]" custT="1"/>
      <dgm:spPr/>
      <dgm:t>
        <a:bodyPr vert="horz"/>
        <a:lstStyle/>
        <a:p>
          <a:pPr rtl="0" eaLnBrk="1" latinLnBrk="0"/>
          <a:r>
            <a:rPr lang="en-US" sz="3600" b="1" dirty="0">
              <a:solidFill>
                <a:sysClr val="windowText" lastClr="000000"/>
              </a:solidFill>
            </a:rPr>
            <a:t>979</a:t>
          </a:r>
          <a:r>
            <a:rPr lang="en-US" sz="2000" b="1" dirty="0">
              <a:solidFill>
                <a:sysClr val="windowText" lastClr="000000"/>
              </a:solidFill>
            </a:rPr>
            <a:t> responses</a:t>
          </a:r>
        </a:p>
      </dgm:t>
    </dgm:pt>
    <dgm:pt modelId="{B3532C9F-D101-459A-8B14-7F07F6CD6000}" type="parTrans" cxnId="{6B0B568C-105E-421B-9551-04FAA25EEC6E}">
      <dgm:prSet/>
      <dgm:spPr/>
      <dgm:t>
        <a:bodyPr/>
        <a:lstStyle/>
        <a:p>
          <a:endParaRPr lang="en-GB" sz="2000" b="1"/>
        </a:p>
      </dgm:t>
    </dgm:pt>
    <dgm:pt modelId="{0B8941D6-95DA-4604-B174-326B874FFC86}" type="sibTrans" cxnId="{6B0B568C-105E-421B-9551-04FAA25EEC6E}">
      <dgm:prSet/>
      <dgm:spPr/>
      <dgm:t>
        <a:bodyPr/>
        <a:lstStyle/>
        <a:p>
          <a:endParaRPr lang="en-GB" sz="2000" b="1"/>
        </a:p>
      </dgm:t>
    </dgm:pt>
    <dgm:pt modelId="{A8AF3926-7159-45AB-97E6-3E9449C5A258}" type="pres">
      <dgm:prSet presAssocID="{C6521575-B63A-43D2-9E97-AB14AFAA5ABA}" presName="Name0" presStyleCnt="0">
        <dgm:presLayoutVars>
          <dgm:dir/>
          <dgm:resizeHandles val="exact"/>
        </dgm:presLayoutVars>
      </dgm:prSet>
      <dgm:spPr/>
    </dgm:pt>
    <dgm:pt modelId="{6E7AB82F-8045-4AA0-BD64-DFEBB9B4D469}" type="pres">
      <dgm:prSet presAssocID="{DB671E8B-5830-4256-9573-8D019448B6BE}" presName="parTxOnly" presStyleLbl="node1" presStyleIdx="0" presStyleCnt="4">
        <dgm:presLayoutVars>
          <dgm:bulletEnabled val="1"/>
        </dgm:presLayoutVars>
      </dgm:prSet>
      <dgm:spPr>
        <a:xfrm>
          <a:off x="3574" y="1911328"/>
          <a:ext cx="3586606" cy="1434642"/>
        </a:xfrm>
      </dgm:spPr>
    </dgm:pt>
    <dgm:pt modelId="{BFEDFC54-E6B5-4C99-A0C3-CAA75CC63DF5}" type="pres">
      <dgm:prSet presAssocID="{5D036F94-C445-4799-9C96-46829DD4707F}" presName="parSpace" presStyleCnt="0"/>
      <dgm:spPr/>
    </dgm:pt>
    <dgm:pt modelId="{85CE6D0B-D787-4810-955F-8E6B00B8B8C9}" type="pres">
      <dgm:prSet presAssocID="{7C043658-E7FB-4AF7-94E7-C3358453DE16}" presName="parTxOnly" presStyleLbl="node1" presStyleIdx="1" presStyleCnt="4" custScaleX="117068">
        <dgm:presLayoutVars>
          <dgm:bulletEnabled val="1"/>
        </dgm:presLayoutVars>
      </dgm:prSet>
      <dgm:spPr>
        <a:xfrm>
          <a:off x="2872860" y="1911328"/>
          <a:ext cx="3586606" cy="1434642"/>
        </a:xfrm>
      </dgm:spPr>
    </dgm:pt>
    <dgm:pt modelId="{F94A76F5-D593-4C3C-B9F4-F039879E159F}" type="pres">
      <dgm:prSet presAssocID="{9CC0AE5E-17A2-4A7D-8BD5-E8A7A55F34E3}" presName="parSpace" presStyleCnt="0"/>
      <dgm:spPr/>
    </dgm:pt>
    <dgm:pt modelId="{E1F1F5A0-EC28-4B80-BCBA-1D964AC8B277}" type="pres">
      <dgm:prSet presAssocID="{BE53C7DF-27FB-4415-BBF1-846BAB5BCEE5}" presName="parTxOnly" presStyleLbl="node1" presStyleIdx="2" presStyleCnt="4">
        <dgm:presLayoutVars>
          <dgm:bulletEnabled val="1"/>
        </dgm:presLayoutVars>
      </dgm:prSet>
      <dgm:spPr>
        <a:xfrm>
          <a:off x="5742145" y="1911328"/>
          <a:ext cx="3586606" cy="1434642"/>
        </a:xfrm>
      </dgm:spPr>
    </dgm:pt>
    <dgm:pt modelId="{80D23EB6-4936-4D65-A434-F045F70DCB6A}" type="pres">
      <dgm:prSet presAssocID="{4AC0D0F8-DA06-466F-8654-1997490AAC11}" presName="parSpace" presStyleCnt="0"/>
      <dgm:spPr/>
    </dgm:pt>
    <dgm:pt modelId="{315D5C1B-7E6C-4A77-A1EE-BD9493307BB6}" type="pres">
      <dgm:prSet presAssocID="{3A9DBB77-2DE9-4925-BA8D-21B9170DB3CD}" presName="parTxOnly" presStyleLbl="node1" presStyleIdx="3" presStyleCnt="4">
        <dgm:presLayoutVars>
          <dgm:bulletEnabled val="1"/>
        </dgm:presLayoutVars>
      </dgm:prSet>
      <dgm:spPr>
        <a:xfrm>
          <a:off x="8611430" y="1911328"/>
          <a:ext cx="3586606" cy="1434642"/>
        </a:xfrm>
      </dgm:spPr>
    </dgm:pt>
  </dgm:ptLst>
  <dgm:cxnLst>
    <dgm:cxn modelId="{6DA4B20E-5EEE-4DDA-BAB6-400F4B70A7AA}" type="presOf" srcId="{C6521575-B63A-43D2-9E97-AB14AFAA5ABA}" destId="{A8AF3926-7159-45AB-97E6-3E9449C5A258}" srcOrd="0" destOrd="0" presId="urn:microsoft.com/office/officeart/2005/8/layout/hChevron3"/>
    <dgm:cxn modelId="{D0B41711-4E0F-42CE-95E9-45A5118842CA}" srcId="{C6521575-B63A-43D2-9E97-AB14AFAA5ABA}" destId="{DB671E8B-5830-4256-9573-8D019448B6BE}" srcOrd="0" destOrd="0" parTransId="{A2850582-B8D2-46F0-B69B-2F3C9DAB614A}" sibTransId="{5D036F94-C445-4799-9C96-46829DD4707F}"/>
    <dgm:cxn modelId="{2D01576F-AC55-449E-AE67-FDC41A312D2A}" type="presOf" srcId="{BE53C7DF-27FB-4415-BBF1-846BAB5BCEE5}" destId="{E1F1F5A0-EC28-4B80-BCBA-1D964AC8B277}" srcOrd="0" destOrd="0" presId="urn:microsoft.com/office/officeart/2005/8/layout/hChevron3"/>
    <dgm:cxn modelId="{6B0B568C-105E-421B-9551-04FAA25EEC6E}" srcId="{C6521575-B63A-43D2-9E97-AB14AFAA5ABA}" destId="{3A9DBB77-2DE9-4925-BA8D-21B9170DB3CD}" srcOrd="3" destOrd="0" parTransId="{B3532C9F-D101-459A-8B14-7F07F6CD6000}" sibTransId="{0B8941D6-95DA-4604-B174-326B874FFC86}"/>
    <dgm:cxn modelId="{413FD6D6-50C5-45B6-977B-282F9B95F911}" type="presOf" srcId="{3A9DBB77-2DE9-4925-BA8D-21B9170DB3CD}" destId="{315D5C1B-7E6C-4A77-A1EE-BD9493307BB6}" srcOrd="0" destOrd="0" presId="urn:microsoft.com/office/officeart/2005/8/layout/hChevron3"/>
    <dgm:cxn modelId="{5C74BBE7-D757-424A-9B51-8F0329F38643}" type="presOf" srcId="{7C043658-E7FB-4AF7-94E7-C3358453DE16}" destId="{85CE6D0B-D787-4810-955F-8E6B00B8B8C9}" srcOrd="0" destOrd="0" presId="urn:microsoft.com/office/officeart/2005/8/layout/hChevron3"/>
    <dgm:cxn modelId="{7F0BA7EB-992E-4897-B847-FACC44466799}" srcId="{C6521575-B63A-43D2-9E97-AB14AFAA5ABA}" destId="{7C043658-E7FB-4AF7-94E7-C3358453DE16}" srcOrd="1" destOrd="0" parTransId="{583FBDD8-B81A-4EB3-B059-1C7B0E69C1B0}" sibTransId="{9CC0AE5E-17A2-4A7D-8BD5-E8A7A55F34E3}"/>
    <dgm:cxn modelId="{925B87F0-38FD-42C9-859D-A9B2EE506EC3}" srcId="{C6521575-B63A-43D2-9E97-AB14AFAA5ABA}" destId="{BE53C7DF-27FB-4415-BBF1-846BAB5BCEE5}" srcOrd="2" destOrd="0" parTransId="{EBB8B2CB-77EB-4DFA-9761-9196504BC52B}" sibTransId="{4AC0D0F8-DA06-466F-8654-1997490AAC11}"/>
    <dgm:cxn modelId="{DC9CC8F4-5E20-4CAD-BAE9-C8A957D4AC29}" type="presOf" srcId="{DB671E8B-5830-4256-9573-8D019448B6BE}" destId="{6E7AB82F-8045-4AA0-BD64-DFEBB9B4D469}" srcOrd="0" destOrd="0" presId="urn:microsoft.com/office/officeart/2005/8/layout/hChevron3"/>
    <dgm:cxn modelId="{D3ECCEDA-822A-4840-B480-68AD1194983C}" type="presParOf" srcId="{A8AF3926-7159-45AB-97E6-3E9449C5A258}" destId="{6E7AB82F-8045-4AA0-BD64-DFEBB9B4D469}" srcOrd="0" destOrd="0" presId="urn:microsoft.com/office/officeart/2005/8/layout/hChevron3"/>
    <dgm:cxn modelId="{EEE07F3B-47BB-4580-B023-AE5FD4139C0A}" type="presParOf" srcId="{A8AF3926-7159-45AB-97E6-3E9449C5A258}" destId="{BFEDFC54-E6B5-4C99-A0C3-CAA75CC63DF5}" srcOrd="1" destOrd="0" presId="urn:microsoft.com/office/officeart/2005/8/layout/hChevron3"/>
    <dgm:cxn modelId="{72860579-1A84-45FD-B1B0-0F91195937C7}" type="presParOf" srcId="{A8AF3926-7159-45AB-97E6-3E9449C5A258}" destId="{85CE6D0B-D787-4810-955F-8E6B00B8B8C9}" srcOrd="2" destOrd="0" presId="urn:microsoft.com/office/officeart/2005/8/layout/hChevron3"/>
    <dgm:cxn modelId="{54D9144A-3BD1-4E3F-925D-94D38C6E464E}" type="presParOf" srcId="{A8AF3926-7159-45AB-97E6-3E9449C5A258}" destId="{F94A76F5-D593-4C3C-B9F4-F039879E159F}" srcOrd="3" destOrd="0" presId="urn:microsoft.com/office/officeart/2005/8/layout/hChevron3"/>
    <dgm:cxn modelId="{AF46A6C4-A95B-43B5-B077-29F8EE396063}" type="presParOf" srcId="{A8AF3926-7159-45AB-97E6-3E9449C5A258}" destId="{E1F1F5A0-EC28-4B80-BCBA-1D964AC8B277}" srcOrd="4" destOrd="0" presId="urn:microsoft.com/office/officeart/2005/8/layout/hChevron3"/>
    <dgm:cxn modelId="{6D507160-EC41-4D96-A1D3-8292012B4D0E}" type="presParOf" srcId="{A8AF3926-7159-45AB-97E6-3E9449C5A258}" destId="{80D23EB6-4936-4D65-A434-F045F70DCB6A}" srcOrd="5" destOrd="0" presId="urn:microsoft.com/office/officeart/2005/8/layout/hChevron3"/>
    <dgm:cxn modelId="{91873A15-D862-4EB4-A733-DA3009E14EBE}" type="presParOf" srcId="{A8AF3926-7159-45AB-97E6-3E9449C5A258}" destId="{315D5C1B-7E6C-4A77-A1EE-BD9493307BB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7AB82F-8045-4AA0-BD64-DFEBB9B4D469}">
      <dsp:nvSpPr>
        <dsp:cNvPr id="0" name=""/>
        <dsp:cNvSpPr/>
      </dsp:nvSpPr>
      <dsp:spPr>
        <a:xfrm>
          <a:off x="5958" y="1945883"/>
          <a:ext cx="3413829" cy="1365531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128016" rIns="64008" bIns="128016" numCol="1" spcCol="1270" anchor="ctr" anchorCtr="0">
          <a:noAutofit/>
        </a:bodyPr>
        <a:lstStyle/>
        <a:p>
          <a:pPr marL="0" lvl="0" indent="0" algn="ctr" defTabSz="21336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b="1" kern="1200" dirty="0"/>
            <a:t>2,728</a:t>
          </a:r>
        </a:p>
      </dsp:txBody>
      <dsp:txXfrm>
        <a:off x="5958" y="1945883"/>
        <a:ext cx="3072446" cy="1365531"/>
      </dsp:txXfrm>
    </dsp:sp>
    <dsp:sp modelId="{85CE6D0B-D787-4810-955F-8E6B00B8B8C9}">
      <dsp:nvSpPr>
        <dsp:cNvPr id="0" name=""/>
        <dsp:cNvSpPr/>
      </dsp:nvSpPr>
      <dsp:spPr>
        <a:xfrm>
          <a:off x="2737022" y="1945883"/>
          <a:ext cx="3996502" cy="1365531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strike="sngStrike" kern="1200" dirty="0"/>
            <a:t>1,253 non-workers</a:t>
          </a:r>
        </a:p>
        <a:p>
          <a:pPr marL="0" lvl="0" indent="0" algn="ctr" defTabSz="8890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,475 workers</a:t>
          </a:r>
        </a:p>
      </dsp:txBody>
      <dsp:txXfrm>
        <a:off x="3419788" y="1945883"/>
        <a:ext cx="2630971" cy="1365531"/>
      </dsp:txXfrm>
    </dsp:sp>
    <dsp:sp modelId="{E1F1F5A0-EC28-4B80-BCBA-1D964AC8B277}">
      <dsp:nvSpPr>
        <dsp:cNvPr id="0" name=""/>
        <dsp:cNvSpPr/>
      </dsp:nvSpPr>
      <dsp:spPr>
        <a:xfrm>
          <a:off x="6050759" y="1945883"/>
          <a:ext cx="3413829" cy="1365531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strike="sngStrike" kern="1200" dirty="0">
              <a:solidFill>
                <a:schemeClr val="bg1"/>
              </a:solidFill>
            </a:rPr>
            <a:t>421: no</a:t>
          </a:r>
        </a:p>
        <a:p>
          <a:pPr marL="0" lvl="0" indent="0" algn="ctr" defTabSz="8890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1,054: yes </a:t>
          </a:r>
        </a:p>
      </dsp:txBody>
      <dsp:txXfrm>
        <a:off x="6733525" y="1945883"/>
        <a:ext cx="2048298" cy="1365531"/>
      </dsp:txXfrm>
    </dsp:sp>
    <dsp:sp modelId="{315D5C1B-7E6C-4A77-A1EE-BD9493307BB6}">
      <dsp:nvSpPr>
        <dsp:cNvPr id="0" name=""/>
        <dsp:cNvSpPr/>
      </dsp:nvSpPr>
      <dsp:spPr>
        <a:xfrm>
          <a:off x="8781823" y="1945883"/>
          <a:ext cx="3413829" cy="1365531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1" kern="1200" dirty="0">
              <a:solidFill>
                <a:sysClr val="windowText" lastClr="000000"/>
              </a:solidFill>
            </a:rPr>
            <a:t>979</a:t>
          </a:r>
          <a:r>
            <a:rPr lang="en-US" sz="2000" b="1" kern="1200" dirty="0">
              <a:solidFill>
                <a:sysClr val="windowText" lastClr="000000"/>
              </a:solidFill>
            </a:rPr>
            <a:t> responses</a:t>
          </a:r>
        </a:p>
      </dsp:txBody>
      <dsp:txXfrm>
        <a:off x="9464589" y="1945883"/>
        <a:ext cx="2048298" cy="13655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EFE3EE-65A0-2C4D-B0C9-59F92A349AC9}" type="datetimeFigureOut">
              <a:rPr lang="en-US" smtClean="0"/>
              <a:t>9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05C43A-1411-7045-AE54-7D146EA3B5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447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771C6-EBFA-43F9-9B00-55E03987F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A0B055-68F4-DF93-742B-EB73063AA7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7C85A6-F117-86CA-29DB-0175CA5225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E1EA2-4247-851A-B5A8-447C975638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160270-B91B-F943-996A-5642B4602F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4707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263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CF05F-7F16-66E3-9C04-A8107B625B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513871-FA73-03CE-7A95-96B6C7C169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3976F7-CF8D-2A66-9057-C7D1EE18CF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E45FC8-7978-3BB6-172A-1721E88D5B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2707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09ABE0-05C7-E428-5415-34CBE4CD0C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98DEE3-5CFC-F444-0F49-01029227E5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83733E-902B-0A6D-8DAB-AE06E1A15B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A73677-C668-BB13-F38D-D21BF6323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371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1084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5C7710-E773-0A5F-0CC0-FAED801A4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8D372B-16B7-3F16-A2E4-2A22F67703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F2105A-2CC4-7D7D-CCF0-E31DE94155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BCC540-264F-4418-1BF3-BEE61C6D16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352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5B3F1E-E8D3-5AEF-9BCC-1E263441CE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A5F93A-52F1-B0D7-2665-5D23563283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FF56D5-CFD9-475B-ABB7-2C53E8F5ED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2C76D9-7C3E-6305-439E-9EDD11AAD3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220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79977-5D59-2A82-6F7C-EB158C060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4ADB70A-4BF1-200D-3C66-6F2C3AEFA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DA131F-2717-63E8-7F5E-5A1ACE1C7C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DA3966-D9F2-3F59-89DF-1FFBD90DA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1853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290F67-4B75-048A-AE08-C35D1227F3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2BD5A0-A351-9ECA-B6CE-CBC45E9C3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6AA789-897D-C8B9-7FD6-492349C33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007DD5-FCF2-44EC-FE3A-9207C20651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880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824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691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278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C906CA-E374-E9E4-D144-C91FFD6C0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CD4197-6AF7-F2EA-B629-CB45AD3C53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532F1-DDCA-A073-66EF-04029BB5F4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527BCB-EC3B-967C-75F8-B4B4AC2AA4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160270-B91B-F943-996A-5642B4602F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478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857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F0FCA7-E5AD-4779-DDAD-62584D409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C45B1B-5800-6C5A-50D7-D7B4CC894F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D141FF-9C01-CEC6-0FD5-DFC93954EF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F7A7FE-1048-00D5-1109-3A66DBE0DC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037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8C644-6D29-279A-45C2-5C2F487FF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FE4644-A454-FB03-1A96-C7609D99CA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2033A3-1F56-D5B9-4344-D5A8CD2BFA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44C4C2-D31F-1208-7206-8E779C8286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2740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160270-B91B-F943-996A-5642B4602F5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979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5.sv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5.sv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CA07EBC5-4080-1670-4BA3-EC5161A2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0283" y="2886513"/>
            <a:ext cx="5476695" cy="1248291"/>
          </a:xfrm>
        </p:spPr>
        <p:txBody>
          <a:bodyPr anchor="ctr"/>
          <a:lstStyle>
            <a:lvl1pPr algn="l">
              <a:lnSpc>
                <a:spcPct val="75000"/>
              </a:lnSpc>
              <a:defRPr sz="5250" cap="all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05E279B-52AE-D647-B85A-157AF4C09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350722-5A38-70CC-6633-DA75790A5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1100"/>
            <a:ext cx="5484634" cy="324000"/>
          </a:xfrm>
          <a:noFill/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F41D3CF-A8B4-C9A7-5124-83BBE4C3E7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33455B9-E010-53C8-0D32-5BE419E93A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473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66A86-6960-D449-0CEA-AAAE91172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4937125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2351FD-FE2D-1BBF-33F0-19340A16F18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2900" y="2400300"/>
            <a:ext cx="4937716" cy="3766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Background Picture Placeholder 3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F6506C-1FA3-581E-2A5F-206FDE580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132527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B80ACBA-0354-0A33-8082-507F09EA02C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378B3444-7F72-C718-8260-6F9A807D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851B6D-B0CF-571D-E97D-015B7EB23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4265006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92062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974943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CC014-6AE0-EDD0-46E5-FDE1863D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30866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634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060F7-3698-BF02-027A-B8691F7F5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C903D41-3A63-4C1C-7220-484463B021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6AB55B-6C6F-2BCE-35FD-F6AD9943AC9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A51B3833-10C6-CAA5-FBA5-5C579BA99F2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6306560-C9B2-B79F-457A-7ACA07085CD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681115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928769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E9CB78D-34B8-45C4-C11C-EAF51C5454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8074" y="4352926"/>
            <a:ext cx="3611026" cy="1851024"/>
          </a:xfrm>
        </p:spPr>
        <p:txBody>
          <a:bodyPr/>
          <a:lstStyle>
            <a:lvl2pPr marL="226800" indent="-226800">
              <a:defRPr/>
            </a:lvl2pPr>
            <a:lvl3pPr marL="453600" indent="-226800">
              <a:defRPr/>
            </a:lvl3pPr>
            <a:lvl4pPr marL="680400" indent="-226800">
              <a:defRPr/>
            </a:lvl4pPr>
            <a:lvl5pPr marL="907200" indent="-2268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9AD20B-1215-4D52-70E0-79FBD91112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2FA173A-5DD3-09E2-673F-94173F0A9D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07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30109" y="4969790"/>
            <a:ext cx="3692962" cy="43640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7707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c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7" y="1030288"/>
            <a:ext cx="3600974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3353" y="1030288"/>
            <a:ext cx="394864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748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AAA0281-F474-80E6-3C0C-23138CEDCFC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084896" y="32688"/>
            <a:ext cx="4818577" cy="1213666"/>
          </a:xfrm>
        </p:spPr>
        <p:txBody>
          <a:bodyPr wrap="square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5250" b="1" cap="all" spc="-75" baseline="0">
                <a:solidFill>
                  <a:schemeClr val="tx1"/>
                </a:solidFill>
              </a:defRPr>
            </a:lvl1pPr>
            <a:lvl2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250" b="1" cap="all" spc="-75" baseline="0">
                <a:solidFill>
                  <a:schemeClr val="accent1"/>
                </a:solidFill>
              </a:defRPr>
            </a:lvl2pPr>
            <a:lvl3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3pPr>
            <a:lvl4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4pPr>
            <a:lvl5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evel 1 text</a:t>
            </a:r>
          </a:p>
          <a:p>
            <a:pPr lvl="1"/>
            <a:r>
              <a:rPr lang="en-US" dirty="0"/>
              <a:t>Level 2 text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A153A70-D027-2663-C177-298A71E6B57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48416"/>
          </a:xfrm>
        </p:spPr>
        <p:txBody>
          <a:bodyPr bIns="2808000" anchor="b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5D326B1D-29CB-7092-8DA7-97156A5A3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0394D99-CBE8-1F34-3C20-31ABE2227F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3874C6-B4DF-BE1A-7681-7CD6889A45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2000"/>
            <a:ext cx="5484634" cy="3240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2266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89138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702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702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02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41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41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41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2300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2300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2300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9E7643B-1D1A-2DE1-619E-99FEA9492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176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1150620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965376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DD57FF-2311-685F-E90F-AE5230D31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9B30820-C7F7-14D4-D2E5-1E457033C94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9250" y="2400299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BF2E606E-B6B3-7C5A-905E-3122B74AF5B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7450" y="2400299"/>
            <a:ext cx="5581650" cy="376872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827458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304780-B4E2-870D-699B-166F11783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899" y="2400299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299"/>
            <a:ext cx="3605212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299" y="2400299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4027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4487" y="2400300"/>
            <a:ext cx="2617787" cy="3768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3588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5863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28138" y="2400299"/>
            <a:ext cx="261884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274664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C159CA-A262-362C-5775-D3132FB48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58112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3E0AF8-59D2-2C86-862E-B9AF1AF4E2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08487F-9641-2D5F-353C-63C5BC99E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912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6520F-ABF1-5D81-DC88-2AD1237A0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373188"/>
            <a:ext cx="4938714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6D247-071A-FF29-B2CC-938A3C02AF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2400299"/>
            <a:ext cx="4938714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9730FF5-9B12-5F43-0AB1-DCA73F1514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C3AC075-B944-2E97-5B26-EFA778BDC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15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64D0307-F00F-96B4-DC1E-3F6CDF8EDDC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C7559A99-82FC-2B0D-F713-B3FD2807B5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B5DFB9-3CE6-C688-67D9-9FFDBE294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00381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037045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C1D90-A999-D188-A423-B12F82BA1A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8033" y="5304871"/>
            <a:ext cx="5278067" cy="1360448"/>
          </a:xfrm>
        </p:spPr>
        <p:txBody>
          <a:bodyPr anchor="b"/>
          <a:lstStyle>
            <a:lvl1pPr algn="l">
              <a:lnSpc>
                <a:spcPct val="75000"/>
              </a:lnSpc>
              <a:defRPr sz="5250" cap="all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C9BF52A-CAAF-62EA-793E-4EA85C1185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8686" y="5989770"/>
            <a:ext cx="5915281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4397874-CDEC-7422-4467-1354261233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4550" y="6353370"/>
            <a:ext cx="5915280" cy="324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62A65D-63FF-685F-9C11-BC5B4ACB9A6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145437"/>
          </a:xfrm>
        </p:spPr>
        <p:txBody>
          <a:bodyPr tIns="2088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7369B37E-4659-11AD-13B0-0E2057CFC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35005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136744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6C5F49D-D6B1-2C44-FFE2-B59EF58C5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3CC743F-68BA-BA49-8928-03F6AE35924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968A390-5533-673F-1F94-7B3065F66A2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9C7A74BE-EA09-76DB-772E-89297094C92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06DCD62A-858B-205C-659B-1A354C7D59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5B6B0D8-D225-B9AB-22CD-8D1BAC91DEF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2CBA33F-9782-D852-2922-FE924336716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D63D0A73-341D-82DB-9D75-BFE2CC5941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FC71831C-1615-BDEB-8929-BF98EAB101A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290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9C9E96-E014-25E4-5F68-75B6CBBCE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42DA4E-5B1E-88F5-8C50-F548F136F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49725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x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A036F4-81C1-DCB9-059C-490B1CF775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17DA518-D8D9-3A2D-61CD-CEFC8FD3A4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318A72B3-A2C9-855F-0079-4A0FB89E27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287A59F-49B2-5957-B2BA-F61AE8E5EBC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820D4450-CA00-26AC-F96A-96A51E63CE3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4BD9CCF-6609-C397-D47F-EE15ECBE774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E7B8CCD2-1F75-9A03-7BAE-294A90EA33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264264D8-1BB0-4326-EA82-E920C3C15C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7C646EA0-0E9E-905B-3261-D517DC23DC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294F290F-24D7-5927-C1DA-F8D6EDD4857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39070EE3-8198-2F66-693D-1E4585C7A5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61BE88D1-8E21-C871-BF40-A8296F9525D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0BBB7FE5-B8EC-98C6-9BB0-F7AAB8F06E0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6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F963EC51-E241-1517-4C20-8FC43877F8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8A10C53C-F074-C81F-696D-64E33F2E1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FA9D1699-B8AA-370A-1D92-FD784EC64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17EA5F-CE77-CEF0-59DE-023DB74C5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084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AFAFAF"/>
          </p15:clr>
        </p15:guide>
        <p15:guide id="49" pos="7680">
          <p15:clr>
            <a:srgbClr val="AFAFAF"/>
          </p15:clr>
        </p15:guide>
        <p15:guide id="50" pos="217">
          <p15:clr>
            <a:srgbClr val="AFAFAF"/>
          </p15:clr>
        </p15:guide>
        <p15:guide id="51" pos="621">
          <p15:clr>
            <a:srgbClr val="AFAFAF"/>
          </p15:clr>
        </p15:guide>
        <p15:guide id="52" pos="839">
          <p15:clr>
            <a:srgbClr val="AFAFAF"/>
          </p15:clr>
        </p15:guide>
        <p15:guide id="53" pos="1243">
          <p15:clr>
            <a:srgbClr val="AFAFAF"/>
          </p15:clr>
        </p15:guide>
        <p15:guide id="54" pos="1461">
          <p15:clr>
            <a:srgbClr val="AFAFAF"/>
          </p15:clr>
        </p15:guide>
        <p15:guide id="55" pos="1865">
          <p15:clr>
            <a:srgbClr val="AFAFAF"/>
          </p15:clr>
        </p15:guide>
        <p15:guide id="56" pos="2083">
          <p15:clr>
            <a:srgbClr val="AFAFAF"/>
          </p15:clr>
        </p15:guide>
        <p15:guide id="57" pos="2487">
          <p15:clr>
            <a:srgbClr val="AFAFAF"/>
          </p15:clr>
        </p15:guide>
        <p15:guide id="58" pos="2705">
          <p15:clr>
            <a:srgbClr val="AFAFAF"/>
          </p15:clr>
        </p15:guide>
        <p15:guide id="59" pos="3109">
          <p15:clr>
            <a:srgbClr val="AFAFAF"/>
          </p15:clr>
        </p15:guide>
        <p15:guide id="60" pos="3326">
          <p15:clr>
            <a:srgbClr val="AFAFAF"/>
          </p15:clr>
        </p15:guide>
        <p15:guide id="61" pos="3731">
          <p15:clr>
            <a:srgbClr val="AFAFAF"/>
          </p15:clr>
        </p15:guide>
        <p15:guide id="62" pos="3948">
          <p15:clr>
            <a:srgbClr val="AFAFAF"/>
          </p15:clr>
        </p15:guide>
        <p15:guide id="63" pos="4353">
          <p15:clr>
            <a:srgbClr val="AFAFAF"/>
          </p15:clr>
        </p15:guide>
        <p15:guide id="64" pos="4570">
          <p15:clr>
            <a:srgbClr val="AFAFAF"/>
          </p15:clr>
        </p15:guide>
        <p15:guide id="65" pos="4974">
          <p15:clr>
            <a:srgbClr val="AFAFAF"/>
          </p15:clr>
        </p15:guide>
        <p15:guide id="66" pos="5192">
          <p15:clr>
            <a:srgbClr val="AFAFAF"/>
          </p15:clr>
        </p15:guide>
        <p15:guide id="67" pos="5596">
          <p15:clr>
            <a:srgbClr val="AFAFAF"/>
          </p15:clr>
        </p15:guide>
        <p15:guide id="68" pos="5814">
          <p15:clr>
            <a:srgbClr val="AFAFAF"/>
          </p15:clr>
        </p15:guide>
        <p15:guide id="69" pos="6218">
          <p15:clr>
            <a:srgbClr val="AFAFAF"/>
          </p15:clr>
        </p15:guide>
        <p15:guide id="70" pos="6436">
          <p15:clr>
            <a:srgbClr val="AFAFAF"/>
          </p15:clr>
        </p15:guide>
        <p15:guide id="71" pos="6840">
          <p15:clr>
            <a:srgbClr val="AFAFAF"/>
          </p15:clr>
        </p15:guide>
        <p15:guide id="72" pos="7058">
          <p15:clr>
            <a:srgbClr val="AFAFAF"/>
          </p15:clr>
        </p15:guide>
        <p15:guide id="73" pos="7462">
          <p15:clr>
            <a:srgbClr val="AFAFAF"/>
          </p15:clr>
        </p15:guide>
        <p15:guide id="74" orient="horz">
          <p15:clr>
            <a:srgbClr val="AFAFAF"/>
          </p15:clr>
        </p15:guide>
        <p15:guide id="75" orient="horz" pos="4320">
          <p15:clr>
            <a:srgbClr val="AFAFAF"/>
          </p15:clr>
        </p15:guide>
        <p15:guide id="76" orient="horz" pos="217">
          <p15:clr>
            <a:srgbClr val="AFAFAF"/>
          </p15:clr>
        </p15:guide>
        <p15:guide id="77" orient="horz" pos="433">
          <p15:clr>
            <a:srgbClr val="AFAFAF"/>
          </p15:clr>
        </p15:guide>
        <p15:guide id="78" orient="horz" pos="649">
          <p15:clr>
            <a:srgbClr val="AFAFAF"/>
          </p15:clr>
        </p15:guide>
        <p15:guide id="79" orient="horz" pos="865">
          <p15:clr>
            <a:srgbClr val="AFAFAF"/>
          </p15:clr>
        </p15:guide>
        <p15:guide id="80" orient="horz" pos="1080">
          <p15:clr>
            <a:srgbClr val="AFAFAF"/>
          </p15:clr>
        </p15:guide>
        <p15:guide id="81" orient="horz" pos="1296">
          <p15:clr>
            <a:srgbClr val="AFAFAF"/>
          </p15:clr>
        </p15:guide>
        <p15:guide id="82" orient="horz" pos="1512">
          <p15:clr>
            <a:srgbClr val="AFAFAF"/>
          </p15:clr>
        </p15:guide>
        <p15:guide id="83" orient="horz" pos="1728">
          <p15:clr>
            <a:srgbClr val="AFAFAF"/>
          </p15:clr>
        </p15:guide>
        <p15:guide id="84" orient="horz" pos="1944">
          <p15:clr>
            <a:srgbClr val="AFAFAF"/>
          </p15:clr>
        </p15:guide>
        <p15:guide id="85" orient="horz" pos="2160">
          <p15:clr>
            <a:srgbClr val="AFAFAF"/>
          </p15:clr>
        </p15:guide>
        <p15:guide id="86" orient="horz" pos="2375">
          <p15:clr>
            <a:srgbClr val="AFAFAF"/>
          </p15:clr>
        </p15:guide>
        <p15:guide id="87" orient="horz" pos="2591">
          <p15:clr>
            <a:srgbClr val="AFAFAF"/>
          </p15:clr>
        </p15:guide>
        <p15:guide id="88" orient="horz" pos="2807">
          <p15:clr>
            <a:srgbClr val="AFAFAF"/>
          </p15:clr>
        </p15:guide>
        <p15:guide id="89" orient="horz" pos="3023">
          <p15:clr>
            <a:srgbClr val="AFAFAF"/>
          </p15:clr>
        </p15:guide>
        <p15:guide id="90" orient="horz" pos="3239">
          <p15:clr>
            <a:srgbClr val="AFAFAF"/>
          </p15:clr>
        </p15:guide>
        <p15:guide id="91" orient="horz" pos="3454">
          <p15:clr>
            <a:srgbClr val="AFAFAF"/>
          </p15:clr>
        </p15:guide>
        <p15:guide id="92" orient="horz" pos="3670">
          <p15:clr>
            <a:srgbClr val="AFAFAF"/>
          </p15:clr>
        </p15:guide>
        <p15:guide id="93" orient="horz" pos="3886">
          <p15:clr>
            <a:srgbClr val="AFAFAF"/>
          </p15:clr>
        </p15:guide>
        <p15:guide id="94" orient="horz" pos="4102">
          <p15:clr>
            <a:srgbClr val="AFAFA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323493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E9CB78D-34B8-45C4-C11C-EAF51C5454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8074" y="4352926"/>
            <a:ext cx="3611026" cy="1851024"/>
          </a:xfrm>
        </p:spPr>
        <p:txBody>
          <a:bodyPr/>
          <a:lstStyle>
            <a:lvl2pPr marL="226800" indent="-226800">
              <a:defRPr/>
            </a:lvl2pPr>
            <a:lvl3pPr marL="453600" indent="-226800">
              <a:defRPr/>
            </a:lvl3pPr>
            <a:lvl4pPr marL="680400" indent="-226800">
              <a:defRPr/>
            </a:lvl4pPr>
            <a:lvl5pPr marL="907200" indent="-2268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7E10496-8AE9-D36E-3261-8D3111D31C2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25B6C-4994-825C-DE4D-38310CF44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02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6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30109" y="4969790"/>
            <a:ext cx="3692962" cy="43640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5422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2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4187" y="1030288"/>
            <a:ext cx="3602563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2300" y="1030288"/>
            <a:ext cx="3949699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cap="none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97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4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44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44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848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848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848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393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393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393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64BE03C-3E4A-DD40-5848-0A2EF5046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397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4CBC2F-A414-4B5F-54E9-D2466314BE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30313EC-A53D-7D44-D5C1-2DBD631FA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556894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300"/>
            <a:ext cx="5581650" cy="3768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7A9546-EE36-A217-2C28-76FB5FA4D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001714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A160CEFA-1224-0A33-3297-149A3EF4E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15EFCED-F030-8D48-F94E-5D083B514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00"/>
            <a:ext cx="6567488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743200"/>
            <a:ext cx="6567488" cy="3425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3DBE6E9-89CB-FE8C-9CE4-A0F5DC349B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85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56544-3139-DD05-E217-DF86B51D9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1150620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14020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B6E1C04-2CBA-63B2-9544-5DF9DD17D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42D600C-D2E5-8336-F058-DF5E43A81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45527E6-00CA-D85C-AC9D-ED267B41A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24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73183" y="652464"/>
            <a:ext cx="8245635" cy="5551486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535" y="2899861"/>
            <a:ext cx="11986930" cy="1493230"/>
          </a:xfrm>
        </p:spPr>
        <p:txBody>
          <a:bodyPr anchor="ctr">
            <a:normAutofit/>
          </a:bodyPr>
          <a:lstStyle>
            <a:lvl1pPr algn="ctr">
              <a:lnSpc>
                <a:spcPct val="75000"/>
              </a:lnSpc>
              <a:defRPr sz="9500" cap="all" spc="-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35D256D3-13B9-7B74-9370-9E7942B02D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21044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488" y="1577975"/>
            <a:ext cx="5578476" cy="4008438"/>
          </a:xfrm>
        </p:spPr>
        <p:txBody>
          <a:bodyPr anchor="ctr">
            <a:normAutofit/>
          </a:bodyPr>
          <a:lstStyle>
            <a:lvl1pPr algn="l">
              <a:lnSpc>
                <a:spcPct val="75000"/>
              </a:lnSpc>
              <a:defRPr sz="9600" cap="all" spc="-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itle</a:t>
            </a:r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0C20D14-B3C8-F8DE-86B3-3769E6092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48927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CA07EBC5-4080-1670-4BA3-EC5161A2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0283" y="2886513"/>
            <a:ext cx="5476695" cy="1248291"/>
          </a:xfrm>
        </p:spPr>
        <p:txBody>
          <a:bodyPr anchor="ctr"/>
          <a:lstStyle>
            <a:lvl1pPr algn="l">
              <a:lnSpc>
                <a:spcPct val="75000"/>
              </a:lnSpc>
              <a:defRPr sz="5250" cap="all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05E279B-52AE-D647-B85A-157AF4C09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350722-5A38-70CC-6633-DA75790A5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1100"/>
            <a:ext cx="5484634" cy="324000"/>
          </a:xfrm>
          <a:noFill/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F41D3CF-A8B4-C9A7-5124-83BBE4C3E7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33455B9-E010-53C8-0D32-5BE419E93A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344688" cy="63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18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AAA0281-F474-80E6-3C0C-23138CEDCFC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084896" y="32688"/>
            <a:ext cx="4818577" cy="1213666"/>
          </a:xfrm>
        </p:spPr>
        <p:txBody>
          <a:bodyPr wrap="square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  <a:defRPr sz="5250" b="1" cap="all" spc="-75" baseline="0">
                <a:solidFill>
                  <a:schemeClr val="tx1"/>
                </a:solidFill>
              </a:defRPr>
            </a:lvl1pPr>
            <a:lvl2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250" b="1" cap="all" spc="-75" baseline="0">
                <a:solidFill>
                  <a:schemeClr val="accent1"/>
                </a:solidFill>
              </a:defRPr>
            </a:lvl2pPr>
            <a:lvl3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3pPr>
            <a:lvl4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4pPr>
            <a:lvl5pPr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evel 1 text</a:t>
            </a:r>
          </a:p>
          <a:p>
            <a:pPr lvl="1"/>
            <a:r>
              <a:rPr lang="en-US" dirty="0"/>
              <a:t>Level 2 text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A153A70-D027-2663-C177-298A71E6B57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48416"/>
          </a:xfrm>
        </p:spPr>
        <p:txBody>
          <a:bodyPr bIns="2808000" anchor="b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5D326B1D-29CB-7092-8DA7-97156A5A3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0394D99-CBE8-1F34-3C20-31ABE2227F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9" y="5827712"/>
            <a:ext cx="5472490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3874C6-B4DF-BE1A-7681-7CD6889A45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345" y="6192000"/>
            <a:ext cx="5484634" cy="3240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729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C1D90-A999-D188-A423-B12F82BA1A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8033" y="5304871"/>
            <a:ext cx="5278067" cy="1360448"/>
          </a:xfrm>
        </p:spPr>
        <p:txBody>
          <a:bodyPr anchor="b"/>
          <a:lstStyle>
            <a:lvl1pPr algn="l">
              <a:lnSpc>
                <a:spcPct val="75000"/>
              </a:lnSpc>
              <a:defRPr sz="5250" cap="all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C9BF52A-CAAF-62EA-793E-4EA85C1185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8686" y="5989770"/>
            <a:ext cx="5915281" cy="324000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4397874-CDEC-7422-4467-1354261233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4550" y="6353370"/>
            <a:ext cx="5915280" cy="324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62A65D-63FF-685F-9C11-BC5B4ACB9A6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12192000" cy="5145437"/>
          </a:xfrm>
        </p:spPr>
        <p:txBody>
          <a:bodyPr tIns="2088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7369B37E-4659-11AD-13B0-0E2057CFC8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3"/>
            <a:ext cx="1359250" cy="63811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76235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>
          <p15:clr>
            <a:srgbClr val="646464"/>
          </p15:clr>
        </p15:guide>
        <p15:guide id="10" pos="7680">
          <p15:clr>
            <a:srgbClr val="646464"/>
          </p15:clr>
        </p15:guide>
        <p15:guide id="11" pos="217">
          <p15:clr>
            <a:srgbClr val="646464"/>
          </p15:clr>
        </p15:guide>
        <p15:guide id="12" pos="7462">
          <p15:clr>
            <a:srgbClr val="646464"/>
          </p15:clr>
        </p15:guide>
        <p15:guide id="13" orient="horz">
          <p15:clr>
            <a:srgbClr val="646464"/>
          </p15:clr>
        </p15:guide>
        <p15:guide id="14" orient="horz" pos="4320">
          <p15:clr>
            <a:srgbClr val="646464"/>
          </p15:clr>
        </p15:guide>
        <p15:guide id="15" orient="horz" pos="217">
          <p15:clr>
            <a:srgbClr val="646464"/>
          </p15:clr>
        </p15:guide>
        <p15:guide id="16" orient="horz" pos="4102">
          <p15:clr>
            <a:srgbClr val="64646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56544-3139-DD05-E217-DF86B51D9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1150620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61604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3800" y="2400300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278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84F25-0FBF-5253-9EF5-985C017AE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300"/>
            <a:ext cx="3605212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300" y="2400300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200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290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19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2617787" cy="3768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2000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3800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30253" y="2400299"/>
            <a:ext cx="261884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975249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300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3800" y="2400300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3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5671648-2F46-25C5-D69B-9FE9BDF56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327410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71CD70-9217-C4C8-9DE5-2549369B8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B901F-43E4-B89B-DCDE-1C8B2100B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178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66A86-6960-D449-0CEA-AAAE91172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4937125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2351FD-FE2D-1BBF-33F0-19340A16F18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2900" y="2400300"/>
            <a:ext cx="4937716" cy="3766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Background Picture Placeholder 3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F6506C-1FA3-581E-2A5F-206FDE5806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353049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B80ACBA-0354-0A33-8082-507F09EA02C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378B3444-7F72-C718-8260-6F9A807D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851B6D-B0CF-571D-E97D-015B7EB23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368894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975560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390302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CC014-6AE0-EDD0-46E5-FDE1863D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30866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419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060F7-3698-BF02-027A-B8691F7F5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B4F64D-55F2-3DBF-7C02-51D0FB3CFE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03C895-F592-6079-C327-40AF22DF478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C903D41-3A63-4C1C-7220-484463B021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6AB55B-6C6F-2BCE-35FD-F6AD9943AC9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B10AACC-F196-4206-9CCE-36EE1E03C9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5DA6D5B-8FB8-11FA-E25A-0C0CD5DFC0F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E32184-39D9-F3A4-94C5-9E54320C681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EA5F606A-ADB4-B4BE-D52B-826D1402A25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A51B3833-10C6-CAA5-FBA5-5C579BA99F2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6306560-C9B2-B79F-457A-7ACA07085CD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25959FCA-2E16-0878-55BC-75C923A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2959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17D1660-2D73-7333-C756-986852FBD07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58247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561819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7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3475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2818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E9CB78D-34B8-45C4-C11C-EAF51C5454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8074" y="4352926"/>
            <a:ext cx="3611026" cy="1851024"/>
          </a:xfrm>
        </p:spPr>
        <p:txBody>
          <a:bodyPr/>
          <a:lstStyle>
            <a:lvl2pPr marL="226800" indent="-226800">
              <a:defRPr/>
            </a:lvl2pPr>
            <a:lvl3pPr marL="453600" indent="-226800">
              <a:defRPr/>
            </a:lvl3pPr>
            <a:lvl4pPr marL="680400" indent="-226800">
              <a:defRPr/>
            </a:lvl4pPr>
            <a:lvl5pPr marL="907200" indent="-2268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79AD20B-1215-4D52-70E0-79FBD91112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2FA173A-5DD3-09E2-673F-94173F0A9D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037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84F25-0FBF-5253-9EF5-985C017AE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300"/>
            <a:ext cx="3605212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300" y="2400300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5327" y="64200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07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7430109" y="4969790"/>
            <a:ext cx="3692962" cy="43646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587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c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7" y="1030288"/>
            <a:ext cx="3600974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3353" y="1030288"/>
            <a:ext cx="394864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474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89138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702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702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702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41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41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41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2300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2300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2300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9E7643B-1D1A-2DE1-619E-99FEA9492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03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37489D-067D-8C7D-7C99-8AC105A1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1150620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973011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DD57FF-2311-685F-E90F-AE5230D31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9B30820-C7F7-14D4-D2E5-1E457033C94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9250" y="2400299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BF2E606E-B6B3-7C5A-905E-3122B74AF5B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7450" y="2400299"/>
            <a:ext cx="5581650" cy="376872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64836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304780-B4E2-870D-699B-166F11783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8276A0-4AE3-3D53-58E7-A8E5CB46FD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899" y="2400299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7B7F741-53CE-FBAF-E825-D6A8278A519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600" y="2400299"/>
            <a:ext cx="3605212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5DEABA2-AF10-F11F-FE17-BBEDB4599C3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2299" y="2400299"/>
            <a:ext cx="3605213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89360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4487" y="2400300"/>
            <a:ext cx="2617787" cy="3768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3588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65863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28138" y="2400299"/>
            <a:ext cx="261884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0044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C159CA-A262-362C-5775-D3132FB48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0202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3E0AF8-59D2-2C86-862E-B9AF1AF4E2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08487F-9641-2D5F-353C-63C5BC99E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258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6520F-ABF1-5D81-DC88-2AD1237A0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373188"/>
            <a:ext cx="4938714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6D247-071A-FF29-B2CC-938A3C02AF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2400299"/>
            <a:ext cx="4938714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9730FF5-9B12-5F43-0AB1-DCA73F1514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C3AC075-B944-2E97-5B26-EFA778BDC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FB243136-97D2-C81C-9967-41C7C98C5D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noFill/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2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FEC153-62BA-F754-A1BC-EFCE43220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E0ADA7C-694A-1BDC-6220-3B2E96ED64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400300"/>
            <a:ext cx="2617787" cy="3768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BA123FA-2A3A-2966-75C1-FAFE59CA58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02000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A7563498-E7E0-B663-9071-27FF537D39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3800" y="2400299"/>
            <a:ext cx="26225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345F21B-27EA-D962-745A-3B27ACA6CB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30253" y="2400299"/>
            <a:ext cx="261884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2937785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64D0307-F00F-96B4-DC1E-3F6CDF8EDDC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0"/>
            <a:ext cx="6096000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C7559A99-82FC-2B0D-F713-B3FD2807B5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B5DFB9-3CE6-C688-67D9-9FFDBE294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388" y="1373188"/>
            <a:ext cx="4938711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31AEE03-67B8-B072-59BD-B0D4751E0E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0388" y="2400299"/>
            <a:ext cx="4936597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7C92578-FCDC-644E-698C-0F6354A37F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552ACA-48D1-2743-58A3-A77133354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352600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Top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FABF04-2D7E-AD64-E77B-9209205C4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0" y="1568"/>
            <a:ext cx="12192000" cy="3427432"/>
          </a:xfrm>
        </p:spPr>
        <p:txBody>
          <a:bodyPr bIns="1080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70A76C6E-EDE2-7ADB-464E-7A4DE53D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C8041B-1FAD-D976-51C6-5D4C7E931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726" y="3771900"/>
            <a:ext cx="11506199" cy="9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CF339-B46A-0FB1-4D72-2FCF8F4CFC4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895" y="4800600"/>
            <a:ext cx="11505205" cy="1368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7374A-733E-DB31-A2F7-9C1A075CD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CFA5AF8-33C0-6FE2-1923-0B9E48220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890159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4276A5-6664-5DEF-2698-29B2006E04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030288"/>
            <a:ext cx="12192000" cy="5138737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7D11AD-0601-B1AB-EB3B-DBDCBE19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333ED0-3984-EB0A-B2E4-74FBFDC48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AF6F5B-BCEF-E444-1494-05AEBCD21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1187838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6C5F49D-D6B1-2C44-FFE2-B59EF58C5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3CC743F-68BA-BA49-8928-03F6AE35924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2626558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968A390-5533-673F-1F94-7B3065F66A2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06741"/>
            <a:ext cx="2621067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9C7A74BE-EA09-76DB-772E-89297094C92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01524" y="2743199"/>
            <a:ext cx="2622947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06DCD62A-858B-205C-659B-1A354C7D59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3589" y="4306741"/>
            <a:ext cx="2617464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5B6B0D8-D225-B9AB-22CD-8D1BAC91DEF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2CBA33F-9782-D852-2922-FE924336716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D63D0A73-341D-82DB-9D75-BFE2CC5941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228798" y="2743199"/>
            <a:ext cx="2624782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FC71831C-1615-BDEB-8929-BF98EAB101A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232900" y="4306741"/>
            <a:ext cx="2619295" cy="1851026"/>
          </a:xfrm>
        </p:spPr>
        <p:txBody>
          <a:bodyPr/>
          <a:lstStyle>
            <a:lvl1pPr>
              <a:lnSpc>
                <a:spcPct val="112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2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2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2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9C9E96-E014-25E4-5F68-75B6CBBCE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42DA4E-5B1E-88F5-8C50-F548F136F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164330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x Image and Text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A036F4-81C1-DCB9-059C-490B1CF775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5F104-EE99-E3EC-5FEC-3194530E5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E9BE50-EE89-A3B7-F2BD-874D54C6E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17DA518-D8D9-3A2D-61CD-CEFC8FD3A4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1208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318A72B3-A2C9-855F-0079-4A0FB89E27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15103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287A59F-49B2-5957-B2BA-F61AE8E5EBC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8997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820D4450-CA00-26AC-F96A-96A51E63CE3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67530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4BD9CCF-6609-C397-D47F-EE15ECBE774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41424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E7B8CCD2-1F75-9A03-7BAE-294A90EA33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18106" y="2743199"/>
            <a:ext cx="1635474" cy="1370013"/>
          </a:xfrm>
          <a:noFill/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264264D8-1BB0-4326-EA82-E920C3C15C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208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7C646EA0-0E9E-905B-3261-D517DC23DC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5103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294F290F-24D7-5927-C1DA-F8D6EDD4857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88997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39070EE3-8198-2F66-693D-1E4585C7A53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67530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61BE88D1-8E21-C871-BF40-A8296F9525D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241424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0BBB7FE5-B8EC-98C6-9BB0-F7AAB8F06E0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18106" y="4352924"/>
            <a:ext cx="1632055" cy="1817689"/>
          </a:xfrm>
        </p:spPr>
        <p:txBody>
          <a:bodyPr/>
          <a:lstStyle>
            <a:lvl1pPr>
              <a:lnSpc>
                <a:spcPct val="112000"/>
              </a:lnSpc>
              <a:defRPr sz="1200"/>
            </a:lvl1pPr>
            <a:lvl2pPr>
              <a:lnSpc>
                <a:spcPct val="112000"/>
              </a:lnSpc>
              <a:defRPr sz="1200"/>
            </a:lvl2pPr>
            <a:lvl3pPr>
              <a:lnSpc>
                <a:spcPct val="112000"/>
              </a:lnSpc>
              <a:defRPr sz="1200"/>
            </a:lvl3pPr>
            <a:lvl4pPr>
              <a:lnSpc>
                <a:spcPct val="112000"/>
              </a:lnSpc>
              <a:defRPr sz="1200"/>
            </a:lvl4pPr>
            <a:lvl5pPr>
              <a:lnSpc>
                <a:spcPct val="112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F963EC51-E241-1517-4C20-8FC43877F8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8A10C53C-F074-C81F-696D-64E33F2E18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FA9D1699-B8AA-370A-1D92-FD784EC64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17EA5F-CE77-CEF0-59DE-023DB74C5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13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AFAFAF"/>
          </p15:clr>
        </p15:guide>
        <p15:guide id="49" pos="7680">
          <p15:clr>
            <a:srgbClr val="AFAFAF"/>
          </p15:clr>
        </p15:guide>
        <p15:guide id="50" pos="217">
          <p15:clr>
            <a:srgbClr val="AFAFAF"/>
          </p15:clr>
        </p15:guide>
        <p15:guide id="51" pos="621">
          <p15:clr>
            <a:srgbClr val="AFAFAF"/>
          </p15:clr>
        </p15:guide>
        <p15:guide id="52" pos="839">
          <p15:clr>
            <a:srgbClr val="AFAFAF"/>
          </p15:clr>
        </p15:guide>
        <p15:guide id="53" pos="1243">
          <p15:clr>
            <a:srgbClr val="AFAFAF"/>
          </p15:clr>
        </p15:guide>
        <p15:guide id="54" pos="1461">
          <p15:clr>
            <a:srgbClr val="AFAFAF"/>
          </p15:clr>
        </p15:guide>
        <p15:guide id="55" pos="1865">
          <p15:clr>
            <a:srgbClr val="AFAFAF"/>
          </p15:clr>
        </p15:guide>
        <p15:guide id="56" pos="2083">
          <p15:clr>
            <a:srgbClr val="AFAFAF"/>
          </p15:clr>
        </p15:guide>
        <p15:guide id="57" pos="2487">
          <p15:clr>
            <a:srgbClr val="AFAFAF"/>
          </p15:clr>
        </p15:guide>
        <p15:guide id="58" pos="2705">
          <p15:clr>
            <a:srgbClr val="AFAFAF"/>
          </p15:clr>
        </p15:guide>
        <p15:guide id="59" pos="3109">
          <p15:clr>
            <a:srgbClr val="AFAFAF"/>
          </p15:clr>
        </p15:guide>
        <p15:guide id="60" pos="3326">
          <p15:clr>
            <a:srgbClr val="AFAFAF"/>
          </p15:clr>
        </p15:guide>
        <p15:guide id="61" pos="3731">
          <p15:clr>
            <a:srgbClr val="AFAFAF"/>
          </p15:clr>
        </p15:guide>
        <p15:guide id="62" pos="3948">
          <p15:clr>
            <a:srgbClr val="AFAFAF"/>
          </p15:clr>
        </p15:guide>
        <p15:guide id="63" pos="4353">
          <p15:clr>
            <a:srgbClr val="AFAFAF"/>
          </p15:clr>
        </p15:guide>
        <p15:guide id="64" pos="4570">
          <p15:clr>
            <a:srgbClr val="AFAFAF"/>
          </p15:clr>
        </p15:guide>
        <p15:guide id="65" pos="4974">
          <p15:clr>
            <a:srgbClr val="AFAFAF"/>
          </p15:clr>
        </p15:guide>
        <p15:guide id="66" pos="5192">
          <p15:clr>
            <a:srgbClr val="AFAFAF"/>
          </p15:clr>
        </p15:guide>
        <p15:guide id="67" pos="5596">
          <p15:clr>
            <a:srgbClr val="AFAFAF"/>
          </p15:clr>
        </p15:guide>
        <p15:guide id="68" pos="5814">
          <p15:clr>
            <a:srgbClr val="AFAFAF"/>
          </p15:clr>
        </p15:guide>
        <p15:guide id="69" pos="6218">
          <p15:clr>
            <a:srgbClr val="AFAFAF"/>
          </p15:clr>
        </p15:guide>
        <p15:guide id="70" pos="6436">
          <p15:clr>
            <a:srgbClr val="AFAFAF"/>
          </p15:clr>
        </p15:guide>
        <p15:guide id="71" pos="6840">
          <p15:clr>
            <a:srgbClr val="AFAFAF"/>
          </p15:clr>
        </p15:guide>
        <p15:guide id="72" pos="7058">
          <p15:clr>
            <a:srgbClr val="AFAFAF"/>
          </p15:clr>
        </p15:guide>
        <p15:guide id="73" pos="7462">
          <p15:clr>
            <a:srgbClr val="AFAFAF"/>
          </p15:clr>
        </p15:guide>
        <p15:guide id="74" orient="horz">
          <p15:clr>
            <a:srgbClr val="AFAFAF"/>
          </p15:clr>
        </p15:guide>
        <p15:guide id="75" orient="horz" pos="4320">
          <p15:clr>
            <a:srgbClr val="AFAFAF"/>
          </p15:clr>
        </p15:guide>
        <p15:guide id="76" orient="horz" pos="217">
          <p15:clr>
            <a:srgbClr val="AFAFAF"/>
          </p15:clr>
        </p15:guide>
        <p15:guide id="77" orient="horz" pos="433">
          <p15:clr>
            <a:srgbClr val="AFAFAF"/>
          </p15:clr>
        </p15:guide>
        <p15:guide id="78" orient="horz" pos="649">
          <p15:clr>
            <a:srgbClr val="AFAFAF"/>
          </p15:clr>
        </p15:guide>
        <p15:guide id="79" orient="horz" pos="865">
          <p15:clr>
            <a:srgbClr val="AFAFAF"/>
          </p15:clr>
        </p15:guide>
        <p15:guide id="80" orient="horz" pos="1080">
          <p15:clr>
            <a:srgbClr val="AFAFAF"/>
          </p15:clr>
        </p15:guide>
        <p15:guide id="81" orient="horz" pos="1296">
          <p15:clr>
            <a:srgbClr val="AFAFAF"/>
          </p15:clr>
        </p15:guide>
        <p15:guide id="82" orient="horz" pos="1512">
          <p15:clr>
            <a:srgbClr val="AFAFAF"/>
          </p15:clr>
        </p15:guide>
        <p15:guide id="83" orient="horz" pos="1728">
          <p15:clr>
            <a:srgbClr val="AFAFAF"/>
          </p15:clr>
        </p15:guide>
        <p15:guide id="84" orient="horz" pos="1944">
          <p15:clr>
            <a:srgbClr val="AFAFAF"/>
          </p15:clr>
        </p15:guide>
        <p15:guide id="85" orient="horz" pos="2160">
          <p15:clr>
            <a:srgbClr val="AFAFAF"/>
          </p15:clr>
        </p15:guide>
        <p15:guide id="86" orient="horz" pos="2375">
          <p15:clr>
            <a:srgbClr val="AFAFAF"/>
          </p15:clr>
        </p15:guide>
        <p15:guide id="87" orient="horz" pos="2591">
          <p15:clr>
            <a:srgbClr val="AFAFAF"/>
          </p15:clr>
        </p15:guide>
        <p15:guide id="88" orient="horz" pos="2807">
          <p15:clr>
            <a:srgbClr val="AFAFAF"/>
          </p15:clr>
        </p15:guide>
        <p15:guide id="89" orient="horz" pos="3023">
          <p15:clr>
            <a:srgbClr val="AFAFAF"/>
          </p15:clr>
        </p15:guide>
        <p15:guide id="90" orient="horz" pos="3239">
          <p15:clr>
            <a:srgbClr val="AFAFAF"/>
          </p15:clr>
        </p15:guide>
        <p15:guide id="91" orient="horz" pos="3454">
          <p15:clr>
            <a:srgbClr val="AFAFAF"/>
          </p15:clr>
        </p15:guide>
        <p15:guide id="92" orient="horz" pos="3670">
          <p15:clr>
            <a:srgbClr val="AFAFAF"/>
          </p15:clr>
        </p15:guide>
        <p15:guide id="93" orient="horz" pos="3886">
          <p15:clr>
            <a:srgbClr val="AFAFAF"/>
          </p15:clr>
        </p15:guide>
        <p15:guide id="94" orient="horz" pos="4102">
          <p15:clr>
            <a:srgbClr val="AFAFA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(x4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B6167C-9AEC-42D7-1530-33139BDF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748AD747-8E28-DD10-D5BF-8518E237EC1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4488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A98D6C-3F04-53AF-C4A8-4501035CF0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294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5A1E741-5224-B294-4BE1-153EF59D5C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293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4F83CFA-5F8E-8873-148A-EA3E1F950D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4569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701FEF4-5426-7BE9-BE5E-346A54B12B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3587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00CAB3-A743-1AF6-CF31-8584B45276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3587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F5962421-E217-70A5-B59F-2BFAB5F7F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7152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2629CA9-17A9-A638-327E-F18796B3E7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54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8A4AD90-F277-CE0E-89B5-9B0825F62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054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292D5CBE-D7EF-F122-2EF9-E16257B7C50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27004" y="2055642"/>
            <a:ext cx="2619981" cy="261998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b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am Photo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544C57-B306-D539-2A5F-6743F90FF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6022" y="5154258"/>
            <a:ext cx="2617873" cy="34560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FCB9643F-9F47-B539-9A15-65A620362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6022" y="5486400"/>
            <a:ext cx="2617873" cy="341313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600" b="1"/>
            </a:lvl2pPr>
            <a:lvl3pPr marL="0" indent="0">
              <a:lnSpc>
                <a:spcPct val="100000"/>
              </a:lnSpc>
              <a:buNone/>
              <a:defRPr sz="1600" b="1"/>
            </a:lvl3pPr>
            <a:lvl4pPr marL="0" indent="0">
              <a:lnSpc>
                <a:spcPct val="100000"/>
              </a:lnSpc>
              <a:buNone/>
              <a:defRPr sz="1600" b="1"/>
            </a:lvl4pPr>
            <a:lvl5pPr marL="0" indent="0">
              <a:lnSpc>
                <a:spcPct val="100000"/>
              </a:lnSpc>
              <a:buNone/>
              <a:defRPr sz="1600" b="1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272671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(x1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7AB972-B897-5707-8EC9-9FE4337A79B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8074" y="4352926"/>
            <a:ext cx="3611026" cy="1851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7E10496-8AE9-D36E-3261-8D3111D31C2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25B6C-4994-825C-DE4D-38310CF44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542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6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ject 1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AE4EB8-BECF-EBD0-9126-361817EE53B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-1" y="0"/>
            <a:ext cx="6267565" cy="6858000"/>
          </a:xfrm>
        </p:spPr>
        <p:txBody>
          <a:bodyPr bIns="2808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1BC1020-1D61-99ED-B8DC-CD2E66C0C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1E0CDCA-4D06-B830-F24B-826FF5BAA2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154" y="5847948"/>
            <a:ext cx="3692962" cy="6671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7B38B57C-C8CB-F478-E367-7DF8F55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62D7A19-F103-E7F0-71A1-AE5CDCCC0F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CFFF592A-5D48-01A8-3F5E-838FD41069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63586" y="1713053"/>
            <a:ext cx="3935649" cy="3773347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217747AB-0152-84D3-BDA3-208107FE7A5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7430109" y="4969790"/>
            <a:ext cx="3692962" cy="436466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reeform 26">
            <a:extLst>
              <a:ext uri="{FF2B5EF4-FFF2-40B4-BE49-F238E27FC236}">
                <a16:creationId xmlns:a16="http://schemas.microsoft.com/office/drawing/2014/main" id="{284AE56D-313B-F96B-6518-F7ADEC63D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494"/>
            <a:ext cx="5924433" cy="3455749"/>
          </a:xfrm>
          <a:custGeom>
            <a:avLst/>
            <a:gdLst>
              <a:gd name="connsiteX0" fmla="*/ 7330874 w 11848094"/>
              <a:gd name="connsiteY0" fmla="*/ 6911371 h 6911498"/>
              <a:gd name="connsiteX1" fmla="*/ 7330954 w 11848094"/>
              <a:gd name="connsiteY1" fmla="*/ 6911371 h 6911498"/>
              <a:gd name="connsiteX2" fmla="*/ 7330826 w 11848094"/>
              <a:gd name="connsiteY2" fmla="*/ 6911498 h 6911498"/>
              <a:gd name="connsiteX3" fmla="*/ 9890670 w 11848094"/>
              <a:gd name="connsiteY3" fmla="*/ 381 h 6911498"/>
              <a:gd name="connsiteX4" fmla="*/ 11515930 w 11848094"/>
              <a:gd name="connsiteY4" fmla="*/ 381 h 6911498"/>
              <a:gd name="connsiteX5" fmla="*/ 11397534 w 11848094"/>
              <a:gd name="connsiteY5" fmla="*/ 1136735 h 6911498"/>
              <a:gd name="connsiteX6" fmla="*/ 11797112 w 11848094"/>
              <a:gd name="connsiteY6" fmla="*/ 1759148 h 6911498"/>
              <a:gd name="connsiteX7" fmla="*/ 11848094 w 11848094"/>
              <a:gd name="connsiteY7" fmla="*/ 1804299 h 6911498"/>
              <a:gd name="connsiteX8" fmla="*/ 11848094 w 11848094"/>
              <a:gd name="connsiteY8" fmla="*/ 4047105 h 6911498"/>
              <a:gd name="connsiteX9" fmla="*/ 11694538 w 11848094"/>
              <a:gd name="connsiteY9" fmla="*/ 3977684 h 6911498"/>
              <a:gd name="connsiteX10" fmla="*/ 10584904 w 11848094"/>
              <a:gd name="connsiteY10" fmla="*/ 3307052 h 6911498"/>
              <a:gd name="connsiteX11" fmla="*/ 9816862 w 11848094"/>
              <a:gd name="connsiteY11" fmla="*/ 2312726 h 6911498"/>
              <a:gd name="connsiteX12" fmla="*/ 9642828 w 11848094"/>
              <a:gd name="connsiteY12" fmla="*/ 1149440 h 6911498"/>
              <a:gd name="connsiteX13" fmla="*/ 9650958 w 11848094"/>
              <a:gd name="connsiteY13" fmla="*/ 1025323 h 6911498"/>
              <a:gd name="connsiteX14" fmla="*/ 9890670 w 11848094"/>
              <a:gd name="connsiteY14" fmla="*/ 381 h 6911498"/>
              <a:gd name="connsiteX15" fmla="*/ 3795499 w 11848094"/>
              <a:gd name="connsiteY15" fmla="*/ 0 h 6911498"/>
              <a:gd name="connsiteX16" fmla="*/ 5652466 w 11848094"/>
              <a:gd name="connsiteY16" fmla="*/ 0 h 6911498"/>
              <a:gd name="connsiteX17" fmla="*/ 7765788 w 11848094"/>
              <a:gd name="connsiteY17" fmla="*/ 5731697 h 6911498"/>
              <a:gd name="connsiteX18" fmla="*/ 7330874 w 11848094"/>
              <a:gd name="connsiteY18" fmla="*/ 6911371 h 6911498"/>
              <a:gd name="connsiteX19" fmla="*/ 6343906 w 11848094"/>
              <a:gd name="connsiteY19" fmla="*/ 6911371 h 6911498"/>
              <a:gd name="connsiteX20" fmla="*/ 0 w 11848094"/>
              <a:gd name="connsiteY20" fmla="*/ 0 h 6911498"/>
              <a:gd name="connsiteX21" fmla="*/ 670994 w 11848094"/>
              <a:gd name="connsiteY21" fmla="*/ 0 h 6911498"/>
              <a:gd name="connsiteX22" fmla="*/ 2784316 w 11848094"/>
              <a:gd name="connsiteY22" fmla="*/ 5731697 h 6911498"/>
              <a:gd name="connsiteX23" fmla="*/ 2349354 w 11848094"/>
              <a:gd name="connsiteY23" fmla="*/ 6911498 h 6911498"/>
              <a:gd name="connsiteX24" fmla="*/ 1362308 w 11848094"/>
              <a:gd name="connsiteY24" fmla="*/ 6911498 h 6911498"/>
              <a:gd name="connsiteX25" fmla="*/ 0 w 11848094"/>
              <a:gd name="connsiteY25" fmla="*/ 3216806 h 6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848094" h="6911498">
                <a:moveTo>
                  <a:pt x="7330874" y="6911371"/>
                </a:moveTo>
                <a:lnTo>
                  <a:pt x="7330954" y="6911371"/>
                </a:lnTo>
                <a:lnTo>
                  <a:pt x="7330826" y="6911498"/>
                </a:lnTo>
                <a:close/>
                <a:moveTo>
                  <a:pt x="9890670" y="381"/>
                </a:moveTo>
                <a:lnTo>
                  <a:pt x="11515930" y="381"/>
                </a:lnTo>
                <a:cubicBezTo>
                  <a:pt x="11380132" y="245564"/>
                  <a:pt x="11252464" y="692611"/>
                  <a:pt x="11397534" y="1136735"/>
                </a:cubicBezTo>
                <a:cubicBezTo>
                  <a:pt x="11479472" y="1387636"/>
                  <a:pt x="11618722" y="1588614"/>
                  <a:pt x="11797112" y="1759148"/>
                </a:cubicBezTo>
                <a:lnTo>
                  <a:pt x="11848094" y="1804299"/>
                </a:lnTo>
                <a:lnTo>
                  <a:pt x="11848094" y="4047105"/>
                </a:lnTo>
                <a:lnTo>
                  <a:pt x="11694538" y="3977684"/>
                </a:lnTo>
                <a:cubicBezTo>
                  <a:pt x="11302642" y="3794623"/>
                  <a:pt x="10918874" y="3584248"/>
                  <a:pt x="10584904" y="3307052"/>
                </a:cubicBezTo>
                <a:cubicBezTo>
                  <a:pt x="10239882" y="3020580"/>
                  <a:pt x="9977814" y="2733475"/>
                  <a:pt x="9816862" y="2312726"/>
                </a:cubicBezTo>
                <a:cubicBezTo>
                  <a:pt x="9675602" y="1943553"/>
                  <a:pt x="9623900" y="1543256"/>
                  <a:pt x="9642828" y="1149440"/>
                </a:cubicBezTo>
                <a:cubicBezTo>
                  <a:pt x="9644860" y="1108152"/>
                  <a:pt x="9647528" y="1066737"/>
                  <a:pt x="9650958" y="1025323"/>
                </a:cubicBezTo>
                <a:cubicBezTo>
                  <a:pt x="9680048" y="671395"/>
                  <a:pt x="9743818" y="322422"/>
                  <a:pt x="9890670" y="381"/>
                </a:cubicBezTo>
                <a:close/>
                <a:moveTo>
                  <a:pt x="3795499" y="0"/>
                </a:moveTo>
                <a:lnTo>
                  <a:pt x="5652466" y="0"/>
                </a:lnTo>
                <a:lnTo>
                  <a:pt x="7765788" y="5731697"/>
                </a:lnTo>
                <a:lnTo>
                  <a:pt x="7330874" y="6911371"/>
                </a:lnTo>
                <a:lnTo>
                  <a:pt x="6343906" y="6911371"/>
                </a:lnTo>
                <a:close/>
                <a:moveTo>
                  <a:pt x="0" y="0"/>
                </a:moveTo>
                <a:lnTo>
                  <a:pt x="670994" y="0"/>
                </a:lnTo>
                <a:lnTo>
                  <a:pt x="2784316" y="5731697"/>
                </a:lnTo>
                <a:lnTo>
                  <a:pt x="2349354" y="6911498"/>
                </a:lnTo>
                <a:lnTo>
                  <a:pt x="1362308" y="6911498"/>
                </a:lnTo>
                <a:lnTo>
                  <a:pt x="0" y="3216806"/>
                </a:lnTo>
                <a:close/>
              </a:path>
            </a:pathLst>
          </a:custGeom>
          <a:solidFill>
            <a:srgbClr val="F9423A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75FDD79E-5158-1071-6B1B-D6A734DBD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67565" y="3434139"/>
            <a:ext cx="5924436" cy="3423861"/>
          </a:xfrm>
          <a:custGeom>
            <a:avLst/>
            <a:gdLst>
              <a:gd name="connsiteX0" fmla="*/ 0 w 11848100"/>
              <a:gd name="connsiteY0" fmla="*/ 2085131 h 6847721"/>
              <a:gd name="connsiteX1" fmla="*/ 65605 w 11848100"/>
              <a:gd name="connsiteY1" fmla="*/ 2124432 h 6847721"/>
              <a:gd name="connsiteX2" fmla="*/ 1246201 w 11848100"/>
              <a:gd name="connsiteY2" fmla="*/ 2650644 h 6847721"/>
              <a:gd name="connsiteX3" fmla="*/ 2551466 w 11848100"/>
              <a:gd name="connsiteY3" fmla="*/ 3430403 h 6847721"/>
              <a:gd name="connsiteX4" fmla="*/ 3514760 w 11848100"/>
              <a:gd name="connsiteY4" fmla="*/ 5253016 h 6847721"/>
              <a:gd name="connsiteX5" fmla="*/ 3524540 w 11848100"/>
              <a:gd name="connsiteY5" fmla="*/ 5523225 h 6847721"/>
              <a:gd name="connsiteX6" fmla="*/ 3373517 w 11848100"/>
              <a:gd name="connsiteY6" fmla="*/ 6559057 h 6847721"/>
              <a:gd name="connsiteX7" fmla="*/ 3255597 w 11848100"/>
              <a:gd name="connsiteY7" fmla="*/ 6847721 h 6847721"/>
              <a:gd name="connsiteX8" fmla="*/ 1598282 w 11848100"/>
              <a:gd name="connsiteY8" fmla="*/ 6847721 h 6847721"/>
              <a:gd name="connsiteX9" fmla="*/ 1637461 w 11848100"/>
              <a:gd name="connsiteY9" fmla="*/ 6776019 h 6847721"/>
              <a:gd name="connsiteX10" fmla="*/ 1846814 w 11848100"/>
              <a:gd name="connsiteY10" fmla="*/ 5877661 h 6847721"/>
              <a:gd name="connsiteX11" fmla="*/ 180541 w 11848100"/>
              <a:gd name="connsiteY11" fmla="*/ 4293667 h 6847721"/>
              <a:gd name="connsiteX12" fmla="*/ 0 w 11848100"/>
              <a:gd name="connsiteY12" fmla="*/ 4212390 h 6847721"/>
              <a:gd name="connsiteX13" fmla="*/ 10297812 w 11848100"/>
              <a:gd name="connsiteY13" fmla="*/ 129 h 6847721"/>
              <a:gd name="connsiteX14" fmla="*/ 11848100 w 11848100"/>
              <a:gd name="connsiteY14" fmla="*/ 129 h 6847721"/>
              <a:gd name="connsiteX15" fmla="*/ 11848100 w 11848100"/>
              <a:gd name="connsiteY15" fmla="*/ 6847721 h 6847721"/>
              <a:gd name="connsiteX16" fmla="*/ 10325436 w 11848100"/>
              <a:gd name="connsiteY16" fmla="*/ 6847721 h 6847721"/>
              <a:gd name="connsiteX17" fmla="*/ 10422324 w 11848100"/>
              <a:gd name="connsiteY17" fmla="*/ 6731900 h 6847721"/>
              <a:gd name="connsiteX18" fmla="*/ 11516568 w 11848100"/>
              <a:gd name="connsiteY18" fmla="*/ 3442853 h 6847721"/>
              <a:gd name="connsiteX19" fmla="*/ 11516568 w 11848100"/>
              <a:gd name="connsiteY19" fmla="*/ 3438152 h 6847721"/>
              <a:gd name="connsiteX20" fmla="*/ 10297812 w 11848100"/>
              <a:gd name="connsiteY20" fmla="*/ 129 h 6847721"/>
              <a:gd name="connsiteX21" fmla="*/ 5789284 w 11848100"/>
              <a:gd name="connsiteY21" fmla="*/ 0 h 6847721"/>
              <a:gd name="connsiteX22" fmla="*/ 7559488 w 11848100"/>
              <a:gd name="connsiteY22" fmla="*/ 0 h 6847721"/>
              <a:gd name="connsiteX23" fmla="*/ 7559488 w 11848100"/>
              <a:gd name="connsiteY23" fmla="*/ 6847721 h 6847721"/>
              <a:gd name="connsiteX24" fmla="*/ 5789284 w 11848100"/>
              <a:gd name="connsiteY24" fmla="*/ 6847721 h 6847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848100" h="6847721">
                <a:moveTo>
                  <a:pt x="0" y="2085131"/>
                </a:moveTo>
                <a:lnTo>
                  <a:pt x="65605" y="2124432"/>
                </a:lnTo>
                <a:cubicBezTo>
                  <a:pt x="440739" y="2333927"/>
                  <a:pt x="858496" y="2470013"/>
                  <a:pt x="1246201" y="2650644"/>
                </a:cubicBezTo>
                <a:cubicBezTo>
                  <a:pt x="1710634" y="2866990"/>
                  <a:pt x="2162999" y="3093118"/>
                  <a:pt x="2551466" y="3430403"/>
                </a:cubicBezTo>
                <a:cubicBezTo>
                  <a:pt x="3115874" y="3920516"/>
                  <a:pt x="3458864" y="4501841"/>
                  <a:pt x="3514760" y="5253016"/>
                </a:cubicBezTo>
                <a:cubicBezTo>
                  <a:pt x="3521492" y="5342831"/>
                  <a:pt x="3524540" y="5433029"/>
                  <a:pt x="3524540" y="5523225"/>
                </a:cubicBezTo>
                <a:cubicBezTo>
                  <a:pt x="3524540" y="5876042"/>
                  <a:pt x="3482952" y="6226714"/>
                  <a:pt x="3373517" y="6559057"/>
                </a:cubicBezTo>
                <a:lnTo>
                  <a:pt x="3255597" y="6847721"/>
                </a:lnTo>
                <a:lnTo>
                  <a:pt x="1598282" y="6847721"/>
                </a:lnTo>
                <a:lnTo>
                  <a:pt x="1637461" y="6776019"/>
                </a:lnTo>
                <a:cubicBezTo>
                  <a:pt x="1771299" y="6512319"/>
                  <a:pt x="1867266" y="6183902"/>
                  <a:pt x="1846814" y="5877661"/>
                </a:cubicBezTo>
                <a:cubicBezTo>
                  <a:pt x="1795795" y="5118785"/>
                  <a:pt x="978369" y="4660743"/>
                  <a:pt x="180541" y="4293667"/>
                </a:cubicBezTo>
                <a:lnTo>
                  <a:pt x="0" y="4212390"/>
                </a:lnTo>
                <a:close/>
                <a:moveTo>
                  <a:pt x="10297812" y="129"/>
                </a:moveTo>
                <a:lnTo>
                  <a:pt x="11848100" y="129"/>
                </a:lnTo>
                <a:lnTo>
                  <a:pt x="11848100" y="6847721"/>
                </a:lnTo>
                <a:lnTo>
                  <a:pt x="10325436" y="6847721"/>
                </a:lnTo>
                <a:lnTo>
                  <a:pt x="10422324" y="6731900"/>
                </a:lnTo>
                <a:cubicBezTo>
                  <a:pt x="11050988" y="5943926"/>
                  <a:pt x="11516568" y="4798904"/>
                  <a:pt x="11516568" y="3442853"/>
                </a:cubicBezTo>
                <a:lnTo>
                  <a:pt x="11516568" y="3438152"/>
                </a:lnTo>
                <a:cubicBezTo>
                  <a:pt x="11516568" y="1994113"/>
                  <a:pt x="10988620" y="789287"/>
                  <a:pt x="10297812" y="129"/>
                </a:cubicBezTo>
                <a:close/>
                <a:moveTo>
                  <a:pt x="5789284" y="0"/>
                </a:moveTo>
                <a:lnTo>
                  <a:pt x="7559488" y="0"/>
                </a:lnTo>
                <a:lnTo>
                  <a:pt x="7559488" y="6847721"/>
                </a:lnTo>
                <a:lnTo>
                  <a:pt x="5789284" y="6847721"/>
                </a:lnTo>
                <a:close/>
              </a:path>
            </a:pathLst>
          </a:custGeom>
          <a:solidFill>
            <a:srgbClr val="EFF1F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04590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2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3F7784C-DEBA-3468-B59B-5DAD73E6AE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030288"/>
            <a:ext cx="3947576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4A56565E-D28B-6BA5-8D1F-DD8A4381EE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01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5C224D8-52CC-92CA-83E8-7FD1E0C473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4187" y="1030288"/>
            <a:ext cx="3602563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C23AFCB-BF0A-06E9-AD94-1AB0286FF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5777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62FA86A3-D1F8-CE2E-F4A5-36C59719229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42300" y="1030288"/>
            <a:ext cx="3949699" cy="445293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9E8C645-5B5A-8FDD-A499-22A85E9BC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43353" y="5622925"/>
            <a:ext cx="2966609" cy="6842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none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35000" indent="-135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377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, Agenda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0DE16D-DC52-A715-4CD1-35A654E06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70000"/>
            <a:ext cx="1150619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6428CDC-BECF-1700-FBD9-E47AAF6194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488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58EC97-F459-CB1F-30D6-AFA60418F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004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1649CBD-5A8E-F75F-2515-D628FF754B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4488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5838D1A-0376-649E-6951-71776BD9A3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29004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E9694B7-988C-8322-B792-C88E24696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4488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106EED9-7707-B2B5-9D90-35A6C3CB808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29004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DF0891E-4679-7763-96EE-40F0733C2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848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468DD1D-CC96-EA9D-8593-A5CCB79BCE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8300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F1BBE91-B500-C88A-030A-07C10F026C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9848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8728887-AEF3-A659-B80D-509BBB6E92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300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0B3DBA4-D1ED-3882-64B5-7E5E4B74EC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848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8CAF2DE-513E-2089-A70D-C29B34BB54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300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818C9C3-7E55-04E0-B509-8FBD49EB9C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43936" y="2972491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FC3638C-643D-E0EA-EA80-B429D1F7838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228452" y="3072369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984B1A0-2F2B-0F3A-447C-C7E6929C4B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43936" y="39908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31BA69D-AF3C-F86E-D8D8-9AF9DBAA7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228452" y="40906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1FDAF4-FD67-5B1E-FDBB-369372944F5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43936" y="5019500"/>
            <a:ext cx="748788" cy="596787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5050" b="1" spc="-200" baseline="0">
                <a:solidFill>
                  <a:schemeClr val="accent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b="1" spc="-200" baseline="0">
                <a:solidFill>
                  <a:schemeClr val="accent1"/>
                </a:solidFill>
              </a:defRPr>
            </a:lvl2pPr>
            <a:lvl3pPr marL="135000" indent="-13500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</a:t>
            </a:r>
          </a:p>
          <a:p>
            <a:pPr lvl="1"/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F02B847-83B2-C664-EE0A-AF493946A8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28452" y="5119378"/>
            <a:ext cx="2618572" cy="39703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2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Guides">
            <a:extLst>
              <a:ext uri="{FF2B5EF4-FFF2-40B4-BE49-F238E27FC236}">
                <a16:creationId xmlns:a16="http://schemas.microsoft.com/office/drawing/2014/main" id="{C587CF81-528D-2F99-C085-E98AE20C8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564017-289F-ED30-7D75-9F9520F5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DB41925-2FD8-BD23-1C7F-66FD22FA8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Guides">
            <a:extLst>
              <a:ext uri="{FF2B5EF4-FFF2-40B4-BE49-F238E27FC236}">
                <a16:creationId xmlns:a16="http://schemas.microsoft.com/office/drawing/2014/main" id="{464BE03C-3E4A-DD40-5848-0A2EF5046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31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5671648-2F46-25C5-D69B-9FE9BDF56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015037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4CBC2F-A414-4B5F-54E9-D2466314BE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7A9546-EE36-A217-2C28-76FB5FA4D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5604" y="0"/>
            <a:ext cx="609639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30313EC-A53D-7D44-D5C1-2DBD631FA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373188"/>
            <a:ext cx="5568949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300"/>
            <a:ext cx="5581650" cy="3768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</p:spTree>
    <p:extLst>
      <p:ext uri="{BB962C8B-B14F-4D97-AF65-F5344CB8AC3E}">
        <p14:creationId xmlns:p14="http://schemas.microsoft.com/office/powerpoint/2010/main" val="3626378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0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A160CEFA-1224-0A33-3297-149A3EF4E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15EFCED-F030-8D48-F94E-5D083B514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714500"/>
            <a:ext cx="6567488" cy="97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743200"/>
            <a:ext cx="6567488" cy="3425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3DBE6E9-89CB-FE8C-9CE4-A0F5DC349B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9879" y="0"/>
            <a:ext cx="100421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491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B6E1C04-2CBA-63B2-9544-5DF9DD17D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EAB78-8D9C-0E2E-827A-42CC0FBB23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42D600C-D2E5-8336-F058-DF5E43A81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D66723-746C-D68A-DC72-FE661B1219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29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C7740FC-52BA-B14F-A10F-3514CCF512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1100" y="2400299"/>
            <a:ext cx="5581650" cy="37687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3E29C8-0B12-5C41-BF4B-DCC4A875C6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45527E6-00CA-D85C-AC9D-ED267B41A6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829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73183" y="652464"/>
            <a:ext cx="8245635" cy="5551486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535" y="2899861"/>
            <a:ext cx="11986930" cy="1493230"/>
          </a:xfrm>
        </p:spPr>
        <p:txBody>
          <a:bodyPr anchor="ctr">
            <a:normAutofit/>
          </a:bodyPr>
          <a:lstStyle>
            <a:lvl1pPr algn="ctr">
              <a:lnSpc>
                <a:spcPct val="75000"/>
              </a:lnSpc>
              <a:defRPr sz="9500" cap="all" spc="-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35D256D3-13B9-7B74-9370-9E7942B02D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36379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1A3D0-DF1C-BE39-1971-7A7206758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488" y="1577975"/>
            <a:ext cx="5578476" cy="4008438"/>
          </a:xfrm>
        </p:spPr>
        <p:txBody>
          <a:bodyPr anchor="ctr">
            <a:normAutofit/>
          </a:bodyPr>
          <a:lstStyle>
            <a:lvl1pPr algn="l">
              <a:lnSpc>
                <a:spcPct val="75000"/>
              </a:lnSpc>
              <a:defRPr sz="9600" cap="all" spc="-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itle</a:t>
            </a:r>
          </a:p>
        </p:txBody>
      </p:sp>
      <p:sp>
        <p:nvSpPr>
          <p:cNvPr id="3" name="Background Picture Placeholder 9">
            <a:extLst>
              <a:ext uri="{FF2B5EF4-FFF2-40B4-BE49-F238E27FC236}">
                <a16:creationId xmlns:a16="http://schemas.microsoft.com/office/drawing/2014/main" id="{32CED102-391F-C18F-B866-F380586C1E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 bIns="1296000"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E23171-B989-D4A0-B1B5-18D127AC9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8C353BD-CC69-6632-B411-4FC1E14BBB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50C20D14-B3C8-F8DE-86B3-3769E6092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4401" y="343694"/>
            <a:ext cx="1005966" cy="47226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21955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3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am (x1)_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D1C8DD-9AE7-C49F-B4D5-387DD5915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074" y="2743200"/>
            <a:ext cx="3608911" cy="1444358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E9CB78D-34B8-45C4-C11C-EAF51C5454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8074" y="4352926"/>
            <a:ext cx="3611026" cy="1851024"/>
          </a:xfrm>
        </p:spPr>
        <p:txBody>
          <a:bodyPr/>
          <a:lstStyle>
            <a:lvl2pPr marL="226800" indent="-226800">
              <a:defRPr/>
            </a:lvl2pPr>
            <a:lvl3pPr marL="453600" indent="-226800">
              <a:defRPr/>
            </a:lvl3pPr>
            <a:lvl4pPr marL="680400" indent="-226800">
              <a:defRPr/>
            </a:lvl4pPr>
            <a:lvl5pPr marL="907200" indent="-2268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7E10496-8AE9-D36E-3261-8D3111D31C2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2112" y="188914"/>
            <a:ext cx="7830861" cy="6669089"/>
          </a:xfrm>
          <a:custGeom>
            <a:avLst/>
            <a:gdLst>
              <a:gd name="connsiteX0" fmla="*/ 3564861 w 7830861"/>
              <a:gd name="connsiteY0" fmla="*/ 0 h 6669089"/>
              <a:gd name="connsiteX1" fmla="*/ 7830861 w 7830861"/>
              <a:gd name="connsiteY1" fmla="*/ 4266000 h 6669089"/>
              <a:gd name="connsiteX2" fmla="*/ 7102295 w 7830861"/>
              <a:gd name="connsiteY2" fmla="*/ 6651162 h 6669089"/>
              <a:gd name="connsiteX3" fmla="*/ 7088889 w 7830861"/>
              <a:gd name="connsiteY3" fmla="*/ 6669089 h 6669089"/>
              <a:gd name="connsiteX4" fmla="*/ 1333500 w 7830861"/>
              <a:gd name="connsiteY4" fmla="*/ 6669089 h 6669089"/>
              <a:gd name="connsiteX5" fmla="*/ 40338 w 7830861"/>
              <a:gd name="connsiteY5" fmla="*/ 6669089 h 6669089"/>
              <a:gd name="connsiteX6" fmla="*/ 0 w 7830861"/>
              <a:gd name="connsiteY6" fmla="*/ 6669089 h 6669089"/>
              <a:gd name="connsiteX7" fmla="*/ 0 w 7830861"/>
              <a:gd name="connsiteY7" fmla="*/ 6608380 h 6669089"/>
              <a:gd name="connsiteX8" fmla="*/ 0 w 7830861"/>
              <a:gd name="connsiteY8" fmla="*/ 5335589 h 6669089"/>
              <a:gd name="connsiteX9" fmla="*/ 0 w 7830861"/>
              <a:gd name="connsiteY9" fmla="*/ 1923620 h 6669089"/>
              <a:gd name="connsiteX10" fmla="*/ 27427 w 7830861"/>
              <a:gd name="connsiteY10" fmla="*/ 1880839 h 6669089"/>
              <a:gd name="connsiteX11" fmla="*/ 3564861 w 7830861"/>
              <a:gd name="connsiteY11" fmla="*/ 0 h 666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30861" h="6669089">
                <a:moveTo>
                  <a:pt x="3564861" y="0"/>
                </a:moveTo>
                <a:cubicBezTo>
                  <a:pt x="5920908" y="0"/>
                  <a:pt x="7830861" y="1909953"/>
                  <a:pt x="7830861" y="4266000"/>
                </a:cubicBezTo>
                <a:cubicBezTo>
                  <a:pt x="7830861" y="5149518"/>
                  <a:pt x="7562274" y="5970304"/>
                  <a:pt x="7102295" y="6651162"/>
                </a:cubicBezTo>
                <a:lnTo>
                  <a:pt x="7088889" y="6669089"/>
                </a:lnTo>
                <a:lnTo>
                  <a:pt x="1333500" y="6669089"/>
                </a:lnTo>
                <a:lnTo>
                  <a:pt x="40338" y="6669089"/>
                </a:lnTo>
                <a:lnTo>
                  <a:pt x="0" y="6669089"/>
                </a:lnTo>
                <a:lnTo>
                  <a:pt x="0" y="6608380"/>
                </a:lnTo>
                <a:lnTo>
                  <a:pt x="0" y="5335589"/>
                </a:lnTo>
                <a:lnTo>
                  <a:pt x="0" y="1923620"/>
                </a:lnTo>
                <a:lnTo>
                  <a:pt x="27427" y="1880839"/>
                </a:lnTo>
                <a:cubicBezTo>
                  <a:pt x="794058" y="746076"/>
                  <a:pt x="2092332" y="0"/>
                  <a:pt x="356486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bIns="2700000" anchor="b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CD4E0C-F9AE-C153-6EB8-2B8427395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649DA47-95C3-2A0A-8E7B-5B912AFF3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25B6C-4994-825C-DE4D-38310CF44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59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646464"/>
          </p15:clr>
        </p15:guide>
        <p15:guide id="49" pos="7680">
          <p15:clr>
            <a:srgbClr val="646464"/>
          </p15:clr>
        </p15:guide>
        <p15:guide id="50" pos="217">
          <p15:clr>
            <a:srgbClr val="646464"/>
          </p15:clr>
        </p15:guide>
        <p15:guide id="51" pos="621">
          <p15:clr>
            <a:srgbClr val="646464"/>
          </p15:clr>
        </p15:guide>
        <p15:guide id="52" pos="839">
          <p15:clr>
            <a:srgbClr val="646464"/>
          </p15:clr>
        </p15:guide>
        <p15:guide id="53" pos="1243">
          <p15:clr>
            <a:srgbClr val="646464"/>
          </p15:clr>
        </p15:guide>
        <p15:guide id="54" pos="1461">
          <p15:clr>
            <a:srgbClr val="646464"/>
          </p15:clr>
        </p15:guide>
        <p15:guide id="55" pos="1865">
          <p15:clr>
            <a:srgbClr val="646464"/>
          </p15:clr>
        </p15:guide>
        <p15:guide id="56" pos="2083">
          <p15:clr>
            <a:srgbClr val="646464"/>
          </p15:clr>
        </p15:guide>
        <p15:guide id="57" pos="2487">
          <p15:clr>
            <a:srgbClr val="646464"/>
          </p15:clr>
        </p15:guide>
        <p15:guide id="58" pos="2705">
          <p15:clr>
            <a:srgbClr val="646464"/>
          </p15:clr>
        </p15:guide>
        <p15:guide id="59" pos="3109">
          <p15:clr>
            <a:srgbClr val="646464"/>
          </p15:clr>
        </p15:guide>
        <p15:guide id="60" pos="3326">
          <p15:clr>
            <a:srgbClr val="646464"/>
          </p15:clr>
        </p15:guide>
        <p15:guide id="61" pos="3731">
          <p15:clr>
            <a:srgbClr val="646464"/>
          </p15:clr>
        </p15:guide>
        <p15:guide id="62" pos="3948">
          <p15:clr>
            <a:srgbClr val="646464"/>
          </p15:clr>
        </p15:guide>
        <p15:guide id="63" pos="4353">
          <p15:clr>
            <a:srgbClr val="646464"/>
          </p15:clr>
        </p15:guide>
        <p15:guide id="64" pos="4570">
          <p15:clr>
            <a:srgbClr val="646464"/>
          </p15:clr>
        </p15:guide>
        <p15:guide id="65" pos="4974">
          <p15:clr>
            <a:srgbClr val="646464"/>
          </p15:clr>
        </p15:guide>
        <p15:guide id="66" pos="5192">
          <p15:clr>
            <a:srgbClr val="646464"/>
          </p15:clr>
        </p15:guide>
        <p15:guide id="67" pos="5596">
          <p15:clr>
            <a:srgbClr val="646464"/>
          </p15:clr>
        </p15:guide>
        <p15:guide id="68" pos="5814">
          <p15:clr>
            <a:srgbClr val="646464"/>
          </p15:clr>
        </p15:guide>
        <p15:guide id="69" pos="6218">
          <p15:clr>
            <a:srgbClr val="646464"/>
          </p15:clr>
        </p15:guide>
        <p15:guide id="70" pos="6436">
          <p15:clr>
            <a:srgbClr val="646464"/>
          </p15:clr>
        </p15:guide>
        <p15:guide id="71" pos="6840">
          <p15:clr>
            <a:srgbClr val="646464"/>
          </p15:clr>
        </p15:guide>
        <p15:guide id="72" pos="7058">
          <p15:clr>
            <a:srgbClr val="646464"/>
          </p15:clr>
        </p15:guide>
        <p15:guide id="73" pos="7462">
          <p15:clr>
            <a:srgbClr val="646464"/>
          </p15:clr>
        </p15:guide>
        <p15:guide id="74" orient="horz">
          <p15:clr>
            <a:srgbClr val="646464"/>
          </p15:clr>
        </p15:guide>
        <p15:guide id="75" orient="horz" pos="4320">
          <p15:clr>
            <a:srgbClr val="646464"/>
          </p15:clr>
        </p15:guide>
        <p15:guide id="76" orient="horz" pos="217">
          <p15:clr>
            <a:srgbClr val="646464"/>
          </p15:clr>
        </p15:guide>
        <p15:guide id="77" orient="horz" pos="436">
          <p15:clr>
            <a:srgbClr val="646464"/>
          </p15:clr>
        </p15:guide>
        <p15:guide id="78" orient="horz" pos="649">
          <p15:clr>
            <a:srgbClr val="646464"/>
          </p15:clr>
        </p15:guide>
        <p15:guide id="79" orient="horz" pos="865">
          <p15:clr>
            <a:srgbClr val="646464"/>
          </p15:clr>
        </p15:guide>
        <p15:guide id="80" orient="horz" pos="1080">
          <p15:clr>
            <a:srgbClr val="646464"/>
          </p15:clr>
        </p15:guide>
        <p15:guide id="81" orient="horz" pos="1296">
          <p15:clr>
            <a:srgbClr val="646464"/>
          </p15:clr>
        </p15:guide>
        <p15:guide id="82" orient="horz" pos="1512">
          <p15:clr>
            <a:srgbClr val="646464"/>
          </p15:clr>
        </p15:guide>
        <p15:guide id="83" orient="horz" pos="1728">
          <p15:clr>
            <a:srgbClr val="646464"/>
          </p15:clr>
        </p15:guide>
        <p15:guide id="84" orient="horz" pos="1944">
          <p15:clr>
            <a:srgbClr val="646464"/>
          </p15:clr>
        </p15:guide>
        <p15:guide id="85" orient="horz" pos="2160">
          <p15:clr>
            <a:srgbClr val="646464"/>
          </p15:clr>
        </p15:guide>
        <p15:guide id="86" orient="horz" pos="2375">
          <p15:clr>
            <a:srgbClr val="646464"/>
          </p15:clr>
        </p15:guide>
        <p15:guide id="87" orient="horz" pos="2591">
          <p15:clr>
            <a:srgbClr val="646464"/>
          </p15:clr>
        </p15:guide>
        <p15:guide id="88" orient="horz" pos="2807">
          <p15:clr>
            <a:srgbClr val="646464"/>
          </p15:clr>
        </p15:guide>
        <p15:guide id="89" orient="horz" pos="3023">
          <p15:clr>
            <a:srgbClr val="646464"/>
          </p15:clr>
        </p15:guide>
        <p15:guide id="90" orient="horz" pos="3239">
          <p15:clr>
            <a:srgbClr val="646464"/>
          </p15:clr>
        </p15:guide>
        <p15:guide id="91" orient="horz" pos="3454">
          <p15:clr>
            <a:srgbClr val="646464"/>
          </p15:clr>
        </p15:guide>
        <p15:guide id="92" orient="horz" pos="3670">
          <p15:clr>
            <a:srgbClr val="646464"/>
          </p15:clr>
        </p15:guide>
        <p15:guide id="93" orient="horz" pos="3886">
          <p15:clr>
            <a:srgbClr val="646464"/>
          </p15:clr>
        </p15:guide>
        <p15:guide id="94" orient="horz" pos="4102">
          <p15:clr>
            <a:srgbClr val="64646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oter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71CD70-9217-C4C8-9DE5-2549369B8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SP | Footer goes here | 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B901F-43E4-B89B-DCDE-1C8B2100B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246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8">
          <p15:clr>
            <a:srgbClr val="E1E1E1"/>
          </p15:clr>
        </p15:guide>
        <p15:guide id="49" pos="7680">
          <p15:clr>
            <a:srgbClr val="E1E1E1"/>
          </p15:clr>
        </p15:guide>
        <p15:guide id="50" pos="217">
          <p15:clr>
            <a:srgbClr val="E1E1E1"/>
          </p15:clr>
        </p15:guide>
        <p15:guide id="51" pos="621">
          <p15:clr>
            <a:srgbClr val="E1E1E1"/>
          </p15:clr>
        </p15:guide>
        <p15:guide id="52" pos="839">
          <p15:clr>
            <a:srgbClr val="E1E1E1"/>
          </p15:clr>
        </p15:guide>
        <p15:guide id="53" pos="1243">
          <p15:clr>
            <a:srgbClr val="E1E1E1"/>
          </p15:clr>
        </p15:guide>
        <p15:guide id="54" pos="1461">
          <p15:clr>
            <a:srgbClr val="E1E1E1"/>
          </p15:clr>
        </p15:guide>
        <p15:guide id="55" pos="1865">
          <p15:clr>
            <a:srgbClr val="E1E1E1"/>
          </p15:clr>
        </p15:guide>
        <p15:guide id="56" pos="2083">
          <p15:clr>
            <a:srgbClr val="E1E1E1"/>
          </p15:clr>
        </p15:guide>
        <p15:guide id="57" pos="2487">
          <p15:clr>
            <a:srgbClr val="E1E1E1"/>
          </p15:clr>
        </p15:guide>
        <p15:guide id="58" pos="2705">
          <p15:clr>
            <a:srgbClr val="E1E1E1"/>
          </p15:clr>
        </p15:guide>
        <p15:guide id="59" pos="3109">
          <p15:clr>
            <a:srgbClr val="E1E1E1"/>
          </p15:clr>
        </p15:guide>
        <p15:guide id="60" pos="3326">
          <p15:clr>
            <a:srgbClr val="E1E1E1"/>
          </p15:clr>
        </p15:guide>
        <p15:guide id="61" pos="3731">
          <p15:clr>
            <a:srgbClr val="E1E1E1"/>
          </p15:clr>
        </p15:guide>
        <p15:guide id="62" pos="3948">
          <p15:clr>
            <a:srgbClr val="E1E1E1"/>
          </p15:clr>
        </p15:guide>
        <p15:guide id="63" pos="4353">
          <p15:clr>
            <a:srgbClr val="E1E1E1"/>
          </p15:clr>
        </p15:guide>
        <p15:guide id="64" pos="4570">
          <p15:clr>
            <a:srgbClr val="E1E1E1"/>
          </p15:clr>
        </p15:guide>
        <p15:guide id="65" pos="4974">
          <p15:clr>
            <a:srgbClr val="E1E1E1"/>
          </p15:clr>
        </p15:guide>
        <p15:guide id="66" pos="5192">
          <p15:clr>
            <a:srgbClr val="E1E1E1"/>
          </p15:clr>
        </p15:guide>
        <p15:guide id="67" pos="5596">
          <p15:clr>
            <a:srgbClr val="E1E1E1"/>
          </p15:clr>
        </p15:guide>
        <p15:guide id="68" pos="5814">
          <p15:clr>
            <a:srgbClr val="E1E1E1"/>
          </p15:clr>
        </p15:guide>
        <p15:guide id="69" pos="6218">
          <p15:clr>
            <a:srgbClr val="E1E1E1"/>
          </p15:clr>
        </p15:guide>
        <p15:guide id="70" pos="6436">
          <p15:clr>
            <a:srgbClr val="E1E1E1"/>
          </p15:clr>
        </p15:guide>
        <p15:guide id="71" pos="6840">
          <p15:clr>
            <a:srgbClr val="E1E1E1"/>
          </p15:clr>
        </p15:guide>
        <p15:guide id="72" pos="7058">
          <p15:clr>
            <a:srgbClr val="E1E1E1"/>
          </p15:clr>
        </p15:guide>
        <p15:guide id="73" pos="7462">
          <p15:clr>
            <a:srgbClr val="E1E1E1"/>
          </p15:clr>
        </p15:guide>
        <p15:guide id="74" orient="horz">
          <p15:clr>
            <a:srgbClr val="E1E1E1"/>
          </p15:clr>
        </p15:guide>
        <p15:guide id="75" orient="horz" pos="4320">
          <p15:clr>
            <a:srgbClr val="E1E1E1"/>
          </p15:clr>
        </p15:guide>
        <p15:guide id="76" orient="horz" pos="217">
          <p15:clr>
            <a:srgbClr val="E1E1E1"/>
          </p15:clr>
        </p15:guide>
        <p15:guide id="77" orient="horz" pos="433">
          <p15:clr>
            <a:srgbClr val="E1E1E1"/>
          </p15:clr>
        </p15:guide>
        <p15:guide id="78" orient="horz" pos="649">
          <p15:clr>
            <a:srgbClr val="E1E1E1"/>
          </p15:clr>
        </p15:guide>
        <p15:guide id="79" orient="horz" pos="865">
          <p15:clr>
            <a:srgbClr val="E1E1E1"/>
          </p15:clr>
        </p15:guide>
        <p15:guide id="80" orient="horz" pos="1080">
          <p15:clr>
            <a:srgbClr val="E1E1E1"/>
          </p15:clr>
        </p15:guide>
        <p15:guide id="81" orient="horz" pos="1296">
          <p15:clr>
            <a:srgbClr val="E1E1E1"/>
          </p15:clr>
        </p15:guide>
        <p15:guide id="82" orient="horz" pos="1512">
          <p15:clr>
            <a:srgbClr val="E1E1E1"/>
          </p15:clr>
        </p15:guide>
        <p15:guide id="83" orient="horz" pos="1728">
          <p15:clr>
            <a:srgbClr val="E1E1E1"/>
          </p15:clr>
        </p15:guide>
        <p15:guide id="84" orient="horz" pos="1944">
          <p15:clr>
            <a:srgbClr val="E1E1E1"/>
          </p15:clr>
        </p15:guide>
        <p15:guide id="85" orient="horz" pos="2160">
          <p15:clr>
            <a:srgbClr val="E1E1E1"/>
          </p15:clr>
        </p15:guide>
        <p15:guide id="86" orient="horz" pos="2375">
          <p15:clr>
            <a:srgbClr val="E1E1E1"/>
          </p15:clr>
        </p15:guide>
        <p15:guide id="87" orient="horz" pos="2591">
          <p15:clr>
            <a:srgbClr val="E1E1E1"/>
          </p15:clr>
        </p15:guide>
        <p15:guide id="88" orient="horz" pos="2807">
          <p15:clr>
            <a:srgbClr val="E1E1E1"/>
          </p15:clr>
        </p15:guide>
        <p15:guide id="89" orient="horz" pos="3023">
          <p15:clr>
            <a:srgbClr val="E1E1E1"/>
          </p15:clr>
        </p15:guide>
        <p15:guide id="90" orient="horz" pos="3239">
          <p15:clr>
            <a:srgbClr val="E1E1E1"/>
          </p15:clr>
        </p15:guide>
        <p15:guide id="91" orient="horz" pos="3454">
          <p15:clr>
            <a:srgbClr val="E1E1E1"/>
          </p15:clr>
        </p15:guide>
        <p15:guide id="92" orient="horz" pos="3670">
          <p15:clr>
            <a:srgbClr val="E1E1E1"/>
          </p15:clr>
        </p15:guide>
        <p15:guide id="93" orient="horz" pos="3886">
          <p15:clr>
            <a:srgbClr val="E1E1E1"/>
          </p15:clr>
        </p15:guide>
        <p15:guide id="94" orient="horz" pos="4102">
          <p15:clr>
            <a:srgbClr val="E1E1E1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4.xml"/><Relationship Id="rId50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4.sv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tags" Target="../tags/tag12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tags" Target="../tags/tag11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tags" Target="../tags/tag10.xml"/><Relationship Id="rId53" Type="http://schemas.openxmlformats.org/officeDocument/2006/relationships/image" Target="../media/image4.sv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tags" Target="../tags/tag14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theme" Target="../theme/theme2.xml"/><Relationship Id="rId52" Type="http://schemas.openxmlformats.org/officeDocument/2006/relationships/image" Target="../media/image3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tags" Target="../tags/tag13.xml"/><Relationship Id="rId8" Type="http://schemas.openxmlformats.org/officeDocument/2006/relationships/slideLayout" Target="../slideLayouts/slideLayout50.xml"/><Relationship Id="rId51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42900" y="1373188"/>
            <a:ext cx="11506199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899" y="2409969"/>
            <a:ext cx="11503025" cy="3759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3B27F34-009B-3805-6523-280C718CB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5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WSP | Footer goes here | Date</a:t>
            </a:r>
            <a:endParaRPr lang="en-US" dirty="0"/>
          </a:p>
        </p:txBody>
      </p:sp>
      <p:sp>
        <p:nvSpPr>
          <p:cNvPr id="7" name="Guides">
            <a:extLst>
              <a:ext uri="{FF2B5EF4-FFF2-40B4-BE49-F238E27FC236}">
                <a16:creationId xmlns:a16="http://schemas.microsoft.com/office/drawing/2014/main" id="{0351398B-E694-40B0-EEF0-24B40643B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327" y="6407378"/>
            <a:ext cx="643773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7456B72-9832-F4E9-89DC-E295D1896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9" name="Guides">
            <a:extLst>
              <a:ext uri="{FF2B5EF4-FFF2-40B4-BE49-F238E27FC236}">
                <a16:creationId xmlns:a16="http://schemas.microsoft.com/office/drawing/2014/main" id="{91AC4D8F-CEED-09F5-54CC-E86A0C6A8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80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27" r:id="rId37"/>
    <p:sldLayoutId id="2147483728" r:id="rId38"/>
    <p:sldLayoutId id="2147483729" r:id="rId39"/>
    <p:sldLayoutId id="2147483730" r:id="rId40"/>
    <p:sldLayoutId id="2147483731" r:id="rId41"/>
    <p:sldLayoutId id="2147483732" r:id="rId42"/>
  </p:sldLayoutIdLst>
  <p:hf hdr="0" dt="0"/>
  <p:txStyles>
    <p:titleStyle>
      <a:lvl1pPr algn="l" defTabSz="914355" rtl="0" eaLnBrk="1" latinLnBrk="0" hangingPunct="1">
        <a:lnSpc>
          <a:spcPct val="88000"/>
        </a:lnSpc>
        <a:spcBef>
          <a:spcPct val="0"/>
        </a:spcBef>
        <a:buNone/>
        <a:defRPr sz="3500" b="1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55" rtl="0" eaLnBrk="1" latinLnBrk="0" hangingPunct="1">
        <a:lnSpc>
          <a:spcPct val="108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68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536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72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1340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608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876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814400" indent="-2268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5"/>
            </p:custDataLst>
          </p:nvPr>
        </p:nvSpPr>
        <p:spPr>
          <a:xfrm>
            <a:off x="342900" y="1373188"/>
            <a:ext cx="11506199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899" y="2409969"/>
            <a:ext cx="11503025" cy="3759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3B27F34-009B-3805-6523-280C718CB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5" name="Foot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6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SP | Footer goes here | Date</a:t>
            </a:r>
          </a:p>
        </p:txBody>
      </p:sp>
      <p:sp>
        <p:nvSpPr>
          <p:cNvPr id="7" name="Guides">
            <a:extLst>
              <a:ext uri="{FF2B5EF4-FFF2-40B4-BE49-F238E27FC236}">
                <a16:creationId xmlns:a16="http://schemas.microsoft.com/office/drawing/2014/main" id="{0351398B-E694-40B0-EEF0-24B40643B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327" y="6407378"/>
            <a:ext cx="643773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91D568E7-61F5-D04E-995D-81EF41C01A2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7456B72-9832-F4E9-89DC-E295D1896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9" name="Guides">
            <a:extLst>
              <a:ext uri="{FF2B5EF4-FFF2-40B4-BE49-F238E27FC236}">
                <a16:creationId xmlns:a16="http://schemas.microsoft.com/office/drawing/2014/main" id="{91AC4D8F-CEED-09F5-54CC-E86A0C6A8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2" name="StyleSample01.jpg" descr="Bullet button" hidden="1">
            <a:extLst>
              <a:ext uri="{FF2B5EF4-FFF2-40B4-BE49-F238E27FC236}">
                <a16:creationId xmlns:a16="http://schemas.microsoft.com/office/drawing/2014/main" id="{57156FD9-27CF-3C3F-4B92-6D1548893099}"/>
              </a:ext>
            </a:extLst>
          </p:cNvPr>
          <p:cNvSpPr>
            <a:spLocks noGrp="1"/>
          </p:cNvSpPr>
          <p:nvPr userDrawn="1">
            <p:custDataLst>
              <p:tags r:id="rId49"/>
            </p:custDataLst>
          </p:nvPr>
        </p:nvSpPr>
        <p:spPr>
          <a:xfrm>
            <a:off x="4293393" y="6858000"/>
            <a:ext cx="3605213" cy="122279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Impact headlines</a:t>
            </a:r>
          </a:p>
          <a:p>
            <a:r>
              <a:rPr lang="en-US" dirty="0"/>
              <a:t>For any slides that have ‘impact headlines’ in a  repeating pattern, make sure to set the ‘alt text’ to decorative. This ensures best practice for accessibility. </a:t>
            </a:r>
          </a:p>
        </p:txBody>
      </p:sp>
    </p:spTree>
    <p:extLst>
      <p:ext uri="{BB962C8B-B14F-4D97-AF65-F5344CB8AC3E}">
        <p14:creationId xmlns:p14="http://schemas.microsoft.com/office/powerpoint/2010/main" val="2815488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  <p:sldLayoutId id="2147483772" r:id="rId39"/>
    <p:sldLayoutId id="2147483773" r:id="rId40"/>
    <p:sldLayoutId id="2147483774" r:id="rId41"/>
    <p:sldLayoutId id="2147483775" r:id="rId42"/>
    <p:sldLayoutId id="2147483776" r:id="rId43"/>
  </p:sldLayoutIdLst>
  <p:hf hdr="0" dt="0"/>
  <p:txStyles>
    <p:titleStyle>
      <a:lvl1pPr algn="l" defTabSz="914355" rtl="0" eaLnBrk="1" latinLnBrk="0" hangingPunct="1">
        <a:lnSpc>
          <a:spcPct val="88000"/>
        </a:lnSpc>
        <a:spcBef>
          <a:spcPct val="0"/>
        </a:spcBef>
        <a:buNone/>
        <a:defRPr sz="3500" b="1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Font typeface="Wingdings" panose="05000000000000000000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355" rtl="0" eaLnBrk="1" latinLnBrk="0" hangingPunct="1">
        <a:lnSpc>
          <a:spcPct val="112000"/>
        </a:lnSpc>
        <a:spcBef>
          <a:spcPts val="0"/>
        </a:spcBef>
        <a:spcAft>
          <a:spcPts val="700"/>
        </a:spcAft>
        <a:buSzPct val="95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6.xml"/><Relationship Id="rId4" Type="http://schemas.openxmlformats.org/officeDocument/2006/relationships/tags" Target="../tags/tag7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5.xml"/><Relationship Id="rId7" Type="http://schemas.openxmlformats.org/officeDocument/2006/relationships/slideLayout" Target="../slideLayouts/slideLayout4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21.svg"/><Relationship Id="rId5" Type="http://schemas.openxmlformats.org/officeDocument/2006/relationships/tags" Target="../tags/tag77.xml"/><Relationship Id="rId10" Type="http://schemas.openxmlformats.org/officeDocument/2006/relationships/image" Target="../media/image8.png"/><Relationship Id="rId4" Type="http://schemas.openxmlformats.org/officeDocument/2006/relationships/tags" Target="../tags/tag76.xml"/><Relationship Id="rId9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81.xml"/><Relationship Id="rId7" Type="http://schemas.openxmlformats.org/officeDocument/2006/relationships/chart" Target="../charts/chart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8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22.jp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notesSlide" Target="../notesSlides/notesSlide15.xml"/><Relationship Id="rId5" Type="http://schemas.openxmlformats.org/officeDocument/2006/relationships/tags" Target="../tags/tag90.xml"/><Relationship Id="rId10" Type="http://schemas.openxmlformats.org/officeDocument/2006/relationships/slideLayout" Target="../slideLayouts/slideLayout30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97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103.xml"/><Relationship Id="rId7" Type="http://schemas.openxmlformats.org/officeDocument/2006/relationships/slideLayout" Target="../slideLayouts/slideLayout30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image" Target="../media/image25.png"/><Relationship Id="rId4" Type="http://schemas.openxmlformats.org/officeDocument/2006/relationships/tags" Target="../tags/tag104.xml"/><Relationship Id="rId9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3.jpe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12.jpeg"/><Relationship Id="rId5" Type="http://schemas.openxmlformats.org/officeDocument/2006/relationships/tags" Target="../tags/tag31.xml"/><Relationship Id="rId10" Type="http://schemas.microsoft.com/office/2007/relationships/hdphoto" Target="../media/hdphoto1.wdp"/><Relationship Id="rId4" Type="http://schemas.openxmlformats.org/officeDocument/2006/relationships/tags" Target="../tags/tag30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3.xml"/><Relationship Id="rId7" Type="http://schemas.openxmlformats.org/officeDocument/2006/relationships/image" Target="../media/image15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8.jpeg"/><Relationship Id="rId4" Type="http://schemas.openxmlformats.org/officeDocument/2006/relationships/tags" Target="../tags/tag44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6.xml"/><Relationship Id="rId4" Type="http://schemas.openxmlformats.org/officeDocument/2006/relationships/tags" Target="../tags/tag4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diagramColors" Target="../diagrams/colors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diagramLayout" Target="../diagrams/layout1.xml"/><Relationship Id="rId5" Type="http://schemas.openxmlformats.org/officeDocument/2006/relationships/tags" Target="../tags/tag53.xml"/><Relationship Id="rId10" Type="http://schemas.openxmlformats.org/officeDocument/2006/relationships/diagramData" Target="../diagrams/data1.xml"/><Relationship Id="rId4" Type="http://schemas.openxmlformats.org/officeDocument/2006/relationships/tags" Target="../tags/tag52.xml"/><Relationship Id="rId9" Type="http://schemas.openxmlformats.org/officeDocument/2006/relationships/notesSlide" Target="../notesSlides/notesSlide7.xml"/><Relationship Id="rId14" Type="http://schemas.microsoft.com/office/2007/relationships/diagramDrawing" Target="../diagrams/drawin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46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6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84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A54A7A-F9B4-F771-F70B-D23C5FEFC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C421833-9228-3989-DF34-E2DCD71C520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1" y="1835304"/>
            <a:ext cx="6096000" cy="972000"/>
          </a:xfrm>
        </p:spPr>
        <p:txBody>
          <a:bodyPr/>
          <a:lstStyle/>
          <a:p>
            <a:r>
              <a:rPr lang="en-US" dirty="0"/>
              <a:t>The Role of Travel Behaviors and Attitudes in Shaping Telecommuting Patterns and Productivit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DADBD9-7610-6447-9F7F-E56A28479087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>
          <a:xfrm>
            <a:off x="342900" y="4119283"/>
            <a:ext cx="4938714" cy="251185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Tassio Magassy</a:t>
            </a:r>
            <a:r>
              <a:rPr lang="en-US" baseline="30000" dirty="0"/>
              <a:t>1</a:t>
            </a:r>
            <a:r>
              <a:rPr lang="en-US" dirty="0"/>
              <a:t>, Irfan Batur</a:t>
            </a:r>
            <a:r>
              <a:rPr lang="en-US" baseline="30000" dirty="0"/>
              <a:t>2</a:t>
            </a:r>
            <a:r>
              <a:rPr lang="en-US" dirty="0"/>
              <a:t>, and Ram Pendyala</a:t>
            </a:r>
            <a:r>
              <a:rPr lang="en-US" baseline="30000" dirty="0"/>
              <a:t>2</a:t>
            </a:r>
            <a:endParaRPr lang="en-US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0" baseline="30000" dirty="0">
                <a:solidFill>
                  <a:srgbClr val="FFFFFF"/>
                </a:solidFill>
              </a:rPr>
              <a:t>1</a:t>
            </a:r>
            <a:r>
              <a:rPr lang="en-US" sz="1200" b="0" dirty="0">
                <a:solidFill>
                  <a:srgbClr val="FFFFFF"/>
                </a:solidFill>
              </a:rPr>
              <a:t>WSP US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0" baseline="30000" dirty="0">
                <a:solidFill>
                  <a:srgbClr val="FFFFFF"/>
                </a:solidFill>
              </a:rPr>
              <a:t>2</a:t>
            </a:r>
            <a:r>
              <a:rPr lang="en-US" sz="1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 State University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E8AF98-AEEC-13AE-9FB3-A0B6075A0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4"/>
            </p:custDataLst>
          </p:nvPr>
        </p:nvSpPr>
        <p:spPr/>
        <p:txBody>
          <a:bodyPr/>
          <a:lstStyle/>
          <a:p>
            <a:pPr lvl="0" defTabSz="914355"/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SP | </a:t>
            </a:r>
            <a:r>
              <a:rPr lang="en-US" b="1" dirty="0"/>
              <a:t>2025 Modeling Mobility Conference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1F0DC7-66A1-CFEF-E19D-B352183094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Placeholder 10" descr="A tall skyscraper at sunset">
            <a:extLst>
              <a:ext uri="{FF2B5EF4-FFF2-40B4-BE49-F238E27FC236}">
                <a16:creationId xmlns:a16="http://schemas.microsoft.com/office/drawing/2014/main" id="{EA738F8D-AB2E-3A7A-9DA3-F6FBA21302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533572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DDF4A-4517-A623-F3DB-0B1CE3AA28D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42900" y="-1154112"/>
            <a:ext cx="11506199" cy="97200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Visual slide with no titl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7D338FED-9036-8657-E581-1CA8DEF092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2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itle 15">
            <a:extLst>
              <a:ext uri="{FF2B5EF4-FFF2-40B4-BE49-F238E27FC236}">
                <a16:creationId xmlns:a16="http://schemas.microsoft.com/office/drawing/2014/main" id="{098C20DC-F625-6138-3CBA-BF7DDDE6ED2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2900" y="1165847"/>
            <a:ext cx="11849100" cy="4981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500" b="1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/>
              <a:t>Recursive Ordered Probit Model with Latent Facto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B8C732-6201-2B65-AFF9-34AD9A31B7ED}"/>
              </a:ext>
            </a:extLst>
          </p:cNvPr>
          <p:cNvSpPr/>
          <p:nvPr/>
        </p:nvSpPr>
        <p:spPr>
          <a:xfrm>
            <a:off x="457344" y="2706365"/>
            <a:ext cx="2645054" cy="30648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Socio-Demographic </a:t>
            </a:r>
          </a:p>
          <a:p>
            <a:pPr algn="ctr" defTabSz="1219170">
              <a:buClr>
                <a:srgbClr val="000000"/>
              </a:buClr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Household Characteristics</a:t>
            </a:r>
          </a:p>
          <a:p>
            <a:pPr algn="ctr" defTabSz="1219170">
              <a:buClr>
                <a:srgbClr val="000000"/>
              </a:buClr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Travel Characteristics</a:t>
            </a:r>
          </a:p>
          <a:p>
            <a:pPr algn="ctr" defTabSz="1219170">
              <a:buClr>
                <a:srgbClr val="000000"/>
              </a:buClr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Built-environment attributes</a:t>
            </a:r>
          </a:p>
          <a:p>
            <a:pPr algn="ctr" defTabSz="1219170">
              <a:buClr>
                <a:srgbClr val="000000"/>
              </a:buClr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Work-related attribut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826F88-5593-9336-CDF8-DCC39BCBBA57}"/>
              </a:ext>
            </a:extLst>
          </p:cNvPr>
          <p:cNvCxnSpPr>
            <a:cxnSpLocks/>
            <a:stCxn id="6" idx="3"/>
            <a:endCxn id="45" idx="2"/>
          </p:cNvCxnSpPr>
          <p:nvPr/>
        </p:nvCxnSpPr>
        <p:spPr>
          <a:xfrm flipV="1">
            <a:off x="3102398" y="3188740"/>
            <a:ext cx="1971068" cy="1050066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09FF86B-EAF2-827C-4D6F-D93B2BC4C1DE}"/>
              </a:ext>
            </a:extLst>
          </p:cNvPr>
          <p:cNvCxnSpPr>
            <a:cxnSpLocks/>
            <a:stCxn id="6" idx="3"/>
            <a:endCxn id="46" idx="2"/>
          </p:cNvCxnSpPr>
          <p:nvPr/>
        </p:nvCxnSpPr>
        <p:spPr>
          <a:xfrm flipV="1">
            <a:off x="3102398" y="4234710"/>
            <a:ext cx="1971068" cy="4096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40E02D5-2426-7372-83B4-993DAD6E7F40}"/>
              </a:ext>
            </a:extLst>
          </p:cNvPr>
          <p:cNvSpPr txBox="1"/>
          <p:nvPr/>
        </p:nvSpPr>
        <p:spPr>
          <a:xfrm>
            <a:off x="8973398" y="2696336"/>
            <a:ext cx="2566519" cy="30469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lvl="0" algn="ctr" defTabSz="1219170">
              <a:buClr>
                <a:srgbClr val="000000"/>
              </a:buClr>
              <a:defRPr/>
            </a:pPr>
            <a:endParaRPr lang="en-US" sz="1600" b="1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lvl="0" algn="ctr" defTabSz="1219170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WFH Frequency</a:t>
            </a:r>
          </a:p>
          <a:p>
            <a:pPr lvl="0" algn="ctr" defTabSz="1219170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(8-level, ordered: </a:t>
            </a:r>
          </a:p>
          <a:p>
            <a:pPr lvl="0" algn="ctr" defTabSz="1219170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0 to 7 days in prev. week)</a:t>
            </a:r>
          </a:p>
          <a:p>
            <a:pPr lvl="0" algn="ctr" defTabSz="1219170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lvl="0" algn="ctr" defTabSz="1219170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lvl="0" algn="ctr" defTabSz="1219170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  <a:p>
            <a:pPr lvl="0" algn="ctr" defTabSz="1219170">
              <a:buClr>
                <a:srgbClr val="000000"/>
              </a:buClr>
              <a:defRPr/>
            </a:pPr>
            <a:r>
              <a:rPr lang="en-US" sz="1600" b="1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Productivity Change </a:t>
            </a:r>
          </a:p>
          <a:p>
            <a:pPr lvl="0" algn="ctr" defTabSz="1219170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(5-level, ordered: decreased significantly to increased significantly)</a:t>
            </a:r>
          </a:p>
          <a:p>
            <a:pPr lvl="0" algn="ctr" defTabSz="1219170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latin typeface="+mj-lt"/>
              <a:ea typeface="Cambria Math" panose="02040503050406030204" pitchFamily="18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18CA42-BB02-389A-78D1-12343390ECB1}"/>
              </a:ext>
            </a:extLst>
          </p:cNvPr>
          <p:cNvCxnSpPr>
            <a:cxnSpLocks/>
            <a:stCxn id="45" idx="6"/>
          </p:cNvCxnSpPr>
          <p:nvPr/>
        </p:nvCxnSpPr>
        <p:spPr>
          <a:xfrm>
            <a:off x="7549360" y="3188740"/>
            <a:ext cx="1410483" cy="627125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BEE2395-33CB-B694-0A40-DEDB4480055C}"/>
              </a:ext>
            </a:extLst>
          </p:cNvPr>
          <p:cNvCxnSpPr>
            <a:cxnSpLocks/>
            <a:stCxn id="46" idx="6"/>
            <a:endCxn id="9" idx="1"/>
          </p:cNvCxnSpPr>
          <p:nvPr/>
        </p:nvCxnSpPr>
        <p:spPr>
          <a:xfrm flipV="1">
            <a:off x="7542436" y="4219830"/>
            <a:ext cx="1430962" cy="14880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9E6B88-8FC1-9585-EF8D-6158FA4A8D30}"/>
              </a:ext>
            </a:extLst>
          </p:cNvPr>
          <p:cNvGrpSpPr/>
          <p:nvPr/>
        </p:nvGrpSpPr>
        <p:grpSpPr>
          <a:xfrm>
            <a:off x="223593" y="1829500"/>
            <a:ext cx="3141884" cy="609154"/>
            <a:chOff x="2283981" y="462732"/>
            <a:chExt cx="1872136" cy="456865"/>
          </a:xfrm>
        </p:grpSpPr>
        <p:sp>
          <p:nvSpPr>
            <p:cNvPr id="14" name="Left Bracket 13">
              <a:extLst>
                <a:ext uri="{FF2B5EF4-FFF2-40B4-BE49-F238E27FC236}">
                  <a16:creationId xmlns:a16="http://schemas.microsoft.com/office/drawing/2014/main" id="{B1C1FD0D-BC85-B221-CCF7-0BEAD162D6B5}"/>
                </a:ext>
              </a:extLst>
            </p:cNvPr>
            <p:cNvSpPr/>
            <p:nvPr/>
          </p:nvSpPr>
          <p:spPr>
            <a:xfrm rot="5400000">
              <a:off x="3167564" y="162763"/>
              <a:ext cx="104971" cy="1408698"/>
            </a:xfrm>
            <a:prstGeom prst="lef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7967263-0B18-595B-14DB-8AFC97BBE69E}"/>
                </a:ext>
              </a:extLst>
            </p:cNvPr>
            <p:cNvSpPr txBox="1"/>
            <p:nvPr/>
          </p:nvSpPr>
          <p:spPr>
            <a:xfrm>
              <a:off x="2283981" y="462732"/>
              <a:ext cx="1872136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Cambria Math" panose="02040503050406030204" pitchFamily="18" charset="0"/>
                  <a:cs typeface="Arial" panose="020B0604020202020204" pitchFamily="34" charset="0"/>
                  <a:sym typeface="Arial"/>
                </a:rPr>
                <a:t>Individual-Level Attribute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A959A28-1180-EF9C-E947-67CF672CCBD5}"/>
              </a:ext>
            </a:extLst>
          </p:cNvPr>
          <p:cNvGrpSpPr/>
          <p:nvPr/>
        </p:nvGrpSpPr>
        <p:grpSpPr>
          <a:xfrm>
            <a:off x="5008066" y="1846154"/>
            <a:ext cx="2563501" cy="592470"/>
            <a:chOff x="2396344" y="591257"/>
            <a:chExt cx="1922626" cy="444352"/>
          </a:xfrm>
        </p:grpSpPr>
        <p:sp>
          <p:nvSpPr>
            <p:cNvPr id="17" name="Left Bracket 16">
              <a:extLst>
                <a:ext uri="{FF2B5EF4-FFF2-40B4-BE49-F238E27FC236}">
                  <a16:creationId xmlns:a16="http://schemas.microsoft.com/office/drawing/2014/main" id="{A84F28CE-3818-62F0-75E7-6553132724A0}"/>
                </a:ext>
              </a:extLst>
            </p:cNvPr>
            <p:cNvSpPr/>
            <p:nvPr/>
          </p:nvSpPr>
          <p:spPr>
            <a:xfrm rot="5400000">
              <a:off x="3316698" y="82980"/>
              <a:ext cx="102959" cy="1802300"/>
            </a:xfrm>
            <a:prstGeom prst="lef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F3B586E-C451-D54E-9A31-F3F4503D5707}"/>
                </a:ext>
              </a:extLst>
            </p:cNvPr>
            <p:cNvSpPr txBox="1"/>
            <p:nvPr/>
          </p:nvSpPr>
          <p:spPr>
            <a:xfrm>
              <a:off x="2396344" y="591257"/>
              <a:ext cx="1922626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Cambria Math" panose="02040503050406030204" pitchFamily="18" charset="0"/>
                  <a:cs typeface="Arial" panose="020B0604020202020204" pitchFamily="34" charset="0"/>
                  <a:sym typeface="Arial"/>
                </a:rPr>
                <a:t>Latent Construct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E3D935A-880D-1C39-4028-A1343D9706E2}"/>
              </a:ext>
            </a:extLst>
          </p:cNvPr>
          <p:cNvGrpSpPr/>
          <p:nvPr/>
        </p:nvGrpSpPr>
        <p:grpSpPr>
          <a:xfrm>
            <a:off x="8959843" y="1870687"/>
            <a:ext cx="2563501" cy="566508"/>
            <a:chOff x="2401951" y="413322"/>
            <a:chExt cx="1860079" cy="424881"/>
          </a:xfrm>
        </p:grpSpPr>
        <p:sp>
          <p:nvSpPr>
            <p:cNvPr id="20" name="Left Bracket 19">
              <a:extLst>
                <a:ext uri="{FF2B5EF4-FFF2-40B4-BE49-F238E27FC236}">
                  <a16:creationId xmlns:a16="http://schemas.microsoft.com/office/drawing/2014/main" id="{C70A5A38-A3A9-6C7D-90DC-A44806F3D94F}"/>
                </a:ext>
              </a:extLst>
            </p:cNvPr>
            <p:cNvSpPr/>
            <p:nvPr/>
          </p:nvSpPr>
          <p:spPr>
            <a:xfrm rot="5400000">
              <a:off x="3278073" y="-145754"/>
              <a:ext cx="107835" cy="1860079"/>
            </a:xfrm>
            <a:prstGeom prst="lef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76F0E9A-0E7A-BFC2-5239-729ABB4AB182}"/>
                </a:ext>
              </a:extLst>
            </p:cNvPr>
            <p:cNvSpPr txBox="1"/>
            <p:nvPr/>
          </p:nvSpPr>
          <p:spPr>
            <a:xfrm>
              <a:off x="2613998" y="413322"/>
              <a:ext cx="1447800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Cambria Math" panose="02040503050406030204" pitchFamily="18" charset="0"/>
                  <a:cs typeface="Arial" panose="020B0604020202020204" pitchFamily="34" charset="0"/>
                  <a:sym typeface="Arial"/>
                </a:rPr>
                <a:t>Main Outcom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CE3946E-E135-97CA-45A3-68552E0410F0}"/>
              </a:ext>
            </a:extLst>
          </p:cNvPr>
          <p:cNvGrpSpPr/>
          <p:nvPr/>
        </p:nvGrpSpPr>
        <p:grpSpPr>
          <a:xfrm>
            <a:off x="2712341" y="6323292"/>
            <a:ext cx="6767317" cy="534708"/>
            <a:chOff x="2816488" y="6286940"/>
            <a:chExt cx="6767317" cy="534708"/>
          </a:xfrm>
          <a:solidFill>
            <a:schemeClr val="tx2"/>
          </a:solidFill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9EF65BD-F513-03E3-1920-8421DE8ED2B8}"/>
                </a:ext>
              </a:extLst>
            </p:cNvPr>
            <p:cNvSpPr/>
            <p:nvPr/>
          </p:nvSpPr>
          <p:spPr>
            <a:xfrm>
              <a:off x="2816488" y="6286940"/>
              <a:ext cx="6767317" cy="406400"/>
            </a:xfrm>
            <a:prstGeom prst="rect">
              <a:avLst/>
            </a:prstGeom>
            <a:grpFill/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68ABA4D-E756-B247-CFA2-DC6D36224E9C}"/>
                </a:ext>
              </a:extLst>
            </p:cNvPr>
            <p:cNvSpPr txBox="1"/>
            <p:nvPr/>
          </p:nvSpPr>
          <p:spPr>
            <a:xfrm>
              <a:off x="3077314" y="6317630"/>
              <a:ext cx="2305689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Cambria Math" panose="02040503050406030204" pitchFamily="18" charset="0"/>
                  <a:cs typeface="Arial" panose="020B0604020202020204" pitchFamily="34" charset="0"/>
                  <a:sym typeface="Arial"/>
                </a:rPr>
                <a:t>Direct Impac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AA54899-5D04-4BCA-BEE0-190EE3CC1104}"/>
                </a:ext>
              </a:extLst>
            </p:cNvPr>
            <p:cNvSpPr txBox="1"/>
            <p:nvPr/>
          </p:nvSpPr>
          <p:spPr>
            <a:xfrm>
              <a:off x="6428013" y="6312270"/>
              <a:ext cx="2305689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Cambria Math" panose="02040503050406030204" pitchFamily="18" charset="0"/>
                  <a:cs typeface="Arial" panose="020B0604020202020204" pitchFamily="34" charset="0"/>
                  <a:sym typeface="Arial"/>
                </a:rPr>
                <a:t>Correlation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CA986BD-6069-6939-B31D-8973541F0150}"/>
                </a:ext>
              </a:extLst>
            </p:cNvPr>
            <p:cNvCxnSpPr>
              <a:cxnSpLocks/>
            </p:cNvCxnSpPr>
            <p:nvPr/>
          </p:nvCxnSpPr>
          <p:spPr>
            <a:xfrm>
              <a:off x="4906113" y="6502840"/>
              <a:ext cx="609600" cy="1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Arc 34">
              <a:extLst>
                <a:ext uri="{FF2B5EF4-FFF2-40B4-BE49-F238E27FC236}">
                  <a16:creationId xmlns:a16="http://schemas.microsoft.com/office/drawing/2014/main" id="{FB31044B-6E43-1D63-EAE4-52750E39262E}"/>
                </a:ext>
              </a:extLst>
            </p:cNvPr>
            <p:cNvSpPr/>
            <p:nvPr/>
          </p:nvSpPr>
          <p:spPr>
            <a:xfrm rot="16200000">
              <a:off x="8190750" y="6359873"/>
              <a:ext cx="429919" cy="493631"/>
            </a:xfrm>
            <a:prstGeom prst="arc">
              <a:avLst>
                <a:gd name="adj1" fmla="val 16498631"/>
                <a:gd name="adj2" fmla="val 5338533"/>
              </a:avLst>
            </a:prstGeom>
            <a:grpFill/>
            <a:ln w="1905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6" name="Arc 35">
            <a:extLst>
              <a:ext uri="{FF2B5EF4-FFF2-40B4-BE49-F238E27FC236}">
                <a16:creationId xmlns:a16="http://schemas.microsoft.com/office/drawing/2014/main" id="{A65FA8CF-3C0D-05F4-C66B-0AE0ED3831EF}"/>
              </a:ext>
            </a:extLst>
          </p:cNvPr>
          <p:cNvSpPr/>
          <p:nvPr/>
        </p:nvSpPr>
        <p:spPr>
          <a:xfrm>
            <a:off x="7196757" y="3529406"/>
            <a:ext cx="367301" cy="371935"/>
          </a:xfrm>
          <a:prstGeom prst="arc">
            <a:avLst>
              <a:gd name="adj1" fmla="val 16498631"/>
              <a:gd name="adj2" fmla="val 5338533"/>
            </a:avLst>
          </a:prstGeom>
          <a:ln w="19050">
            <a:solidFill>
              <a:schemeClr val="tx1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3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  <a:sym typeface="Arial"/>
            </a:endParaRPr>
          </a:p>
        </p:txBody>
      </p:sp>
      <p:cxnSp>
        <p:nvCxnSpPr>
          <p:cNvPr id="37" name="Elbow Connector 42">
            <a:extLst>
              <a:ext uri="{FF2B5EF4-FFF2-40B4-BE49-F238E27FC236}">
                <a16:creationId xmlns:a16="http://schemas.microsoft.com/office/drawing/2014/main" id="{54BAA5EE-03D9-BE30-88B2-134D18794416}"/>
              </a:ext>
            </a:extLst>
          </p:cNvPr>
          <p:cNvCxnSpPr>
            <a:cxnSpLocks/>
            <a:stCxn id="6" idx="2"/>
            <a:endCxn id="9" idx="2"/>
          </p:cNvCxnSpPr>
          <p:nvPr/>
        </p:nvCxnSpPr>
        <p:spPr>
          <a:xfrm rot="5400000" flipH="1" flipV="1">
            <a:off x="6004303" y="1518891"/>
            <a:ext cx="27922" cy="8476787"/>
          </a:xfrm>
          <a:prstGeom prst="bentConnector3">
            <a:avLst>
              <a:gd name="adj1" fmla="val -818709"/>
            </a:avLst>
          </a:prstGeom>
          <a:ln w="19050">
            <a:tailEnd type="triangl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0A56BC7-7438-A60B-E16B-672816E294EF}"/>
              </a:ext>
            </a:extLst>
          </p:cNvPr>
          <p:cNvGrpSpPr/>
          <p:nvPr/>
        </p:nvGrpSpPr>
        <p:grpSpPr>
          <a:xfrm>
            <a:off x="5073466" y="2684122"/>
            <a:ext cx="2498101" cy="3097101"/>
            <a:chOff x="5177613" y="2736258"/>
            <a:chExt cx="2498101" cy="3097101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05DCA24F-6C85-5FF6-4E39-D3F3AE0A120D}"/>
                </a:ext>
              </a:extLst>
            </p:cNvPr>
            <p:cNvGrpSpPr/>
            <p:nvPr/>
          </p:nvGrpSpPr>
          <p:grpSpPr>
            <a:xfrm>
              <a:off x="5177613" y="2736258"/>
              <a:ext cx="2475894" cy="3097101"/>
              <a:chOff x="5177613" y="2736258"/>
              <a:chExt cx="2475894" cy="3097101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D92DD8F-D375-180B-BB0C-6A95A5FFE6EB}"/>
                  </a:ext>
                </a:extLst>
              </p:cNvPr>
              <p:cNvGrpSpPr/>
              <p:nvPr/>
            </p:nvGrpSpPr>
            <p:grpSpPr>
              <a:xfrm>
                <a:off x="5177613" y="2736258"/>
                <a:ext cx="2475894" cy="2755285"/>
                <a:chOff x="5096648" y="1357403"/>
                <a:chExt cx="1437988" cy="1905091"/>
              </a:xfrm>
            </p:grpSpPr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77F0F55E-9BC0-9F8F-484B-C0ACEBF68971}"/>
                    </a:ext>
                  </a:extLst>
                </p:cNvPr>
                <p:cNvGrpSpPr/>
                <p:nvPr/>
              </p:nvGrpSpPr>
              <p:grpSpPr>
                <a:xfrm>
                  <a:off x="5096648" y="1357403"/>
                  <a:ext cx="1437988" cy="1421034"/>
                  <a:chOff x="4885552" y="810957"/>
                  <a:chExt cx="1283759" cy="1156482"/>
                </a:xfrm>
              </p:grpSpPr>
              <p:sp>
                <p:nvSpPr>
                  <p:cNvPr id="45" name="Oval 44">
                    <a:extLst>
                      <a:ext uri="{FF2B5EF4-FFF2-40B4-BE49-F238E27FC236}">
                        <a16:creationId xmlns:a16="http://schemas.microsoft.com/office/drawing/2014/main" id="{4CC8352B-8FCB-2EB9-9BE5-44E559D38023}"/>
                      </a:ext>
                    </a:extLst>
                  </p:cNvPr>
                  <p:cNvSpPr/>
                  <p:nvPr/>
                </p:nvSpPr>
                <p:spPr>
                  <a:xfrm>
                    <a:off x="4885552" y="810957"/>
                    <a:ext cx="1283759" cy="567906"/>
                  </a:xfrm>
                  <a:prstGeom prst="ellipse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 defTabSz="1219170">
                      <a:buClr>
                        <a:srgbClr val="000000"/>
                      </a:buClr>
                      <a:defRPr/>
                    </a:pPr>
                    <a:r>
                      <a:rPr lang="en-US" sz="1600" i="1" kern="0" dirty="0">
                        <a:solidFill>
                          <a:srgbClr val="000000"/>
                        </a:solidFill>
                        <a:latin typeface="+mj-lt"/>
                        <a:ea typeface="Cambria Math" panose="02040503050406030204" pitchFamily="18" charset="0"/>
                        <a:cs typeface="Arial" panose="020B0604020202020204" pitchFamily="34" charset="0"/>
                        <a:sym typeface="Arial"/>
                      </a:rPr>
                      <a:t>Social Interaction Propensity</a:t>
                    </a:r>
                  </a:p>
                </p:txBody>
              </p:sp>
              <p:sp>
                <p:nvSpPr>
                  <p:cNvPr id="46" name="Oval 45">
                    <a:extLst>
                      <a:ext uri="{FF2B5EF4-FFF2-40B4-BE49-F238E27FC236}">
                        <a16:creationId xmlns:a16="http://schemas.microsoft.com/office/drawing/2014/main" id="{723AC21D-4D78-0D61-0B94-0234CB9B0664}"/>
                      </a:ext>
                    </a:extLst>
                  </p:cNvPr>
                  <p:cNvSpPr/>
                  <p:nvPr/>
                </p:nvSpPr>
                <p:spPr>
                  <a:xfrm>
                    <a:off x="4885552" y="1399533"/>
                    <a:ext cx="1280169" cy="567906"/>
                  </a:xfrm>
                  <a:prstGeom prst="ellipse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 defTabSz="1219170">
                      <a:buClr>
                        <a:srgbClr val="000000"/>
                      </a:buClr>
                      <a:defRPr/>
                    </a:pPr>
                    <a:r>
                      <a:rPr lang="en-US" sz="1600" i="1" kern="0" dirty="0">
                        <a:solidFill>
                          <a:srgbClr val="000000"/>
                        </a:solidFill>
                        <a:latin typeface="+mj-lt"/>
                        <a:ea typeface="Cambria Math" panose="02040503050406030204" pitchFamily="18" charset="0"/>
                        <a:cs typeface="Arial" panose="020B0604020202020204" pitchFamily="34" charset="0"/>
                        <a:sym typeface="Arial"/>
                      </a:rPr>
                      <a:t>Online Activity Inclination </a:t>
                    </a:r>
                  </a:p>
                </p:txBody>
              </p:sp>
            </p:grp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DE41B7C9-65CE-8689-7C62-47D1705E8C17}"/>
                    </a:ext>
                  </a:extLst>
                </p:cNvPr>
                <p:cNvSpPr txBox="1"/>
                <p:nvPr/>
              </p:nvSpPr>
              <p:spPr>
                <a:xfrm>
                  <a:off x="5280663" y="3028407"/>
                  <a:ext cx="1090133" cy="2340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6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Cambria Math" panose="02040503050406030204" pitchFamily="18" charset="0"/>
                    <a:cs typeface="Arial" panose="020B0604020202020204" pitchFamily="34" charset="0"/>
                    <a:sym typeface="Arial"/>
                  </a:endParaRPr>
                </a:p>
              </p:txBody>
            </p:sp>
          </p:grp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75D52843-CC29-6373-91E1-D70E74A6328E}"/>
                  </a:ext>
                </a:extLst>
              </p:cNvPr>
              <p:cNvSpPr/>
              <p:nvPr/>
            </p:nvSpPr>
            <p:spPr>
              <a:xfrm>
                <a:off x="5177614" y="4824123"/>
                <a:ext cx="2468974" cy="1009236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6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Cambria Math" panose="02040503050406030204" pitchFamily="18" charset="0"/>
                    <a:cs typeface="Arial" panose="020B0604020202020204" pitchFamily="34" charset="0"/>
                    <a:sym typeface="Arial"/>
                  </a:rPr>
                  <a:t>Risk Aversion</a:t>
                </a:r>
              </a:p>
            </p:txBody>
          </p:sp>
        </p:grpSp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BC1550F2-A753-1917-BAA6-6F1E1205E1E6}"/>
                </a:ext>
              </a:extLst>
            </p:cNvPr>
            <p:cNvSpPr/>
            <p:nvPr/>
          </p:nvSpPr>
          <p:spPr>
            <a:xfrm>
              <a:off x="7308413" y="4624346"/>
              <a:ext cx="367301" cy="371935"/>
            </a:xfrm>
            <a:prstGeom prst="arc">
              <a:avLst>
                <a:gd name="adj1" fmla="val 16498631"/>
                <a:gd name="adj2" fmla="val 5338533"/>
              </a:avLst>
            </a:prstGeom>
            <a:ln w="19050">
              <a:solidFill>
                <a:schemeClr val="tx1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3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  <a:sym typeface="Arial"/>
              </a:endParaRP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988223E-34A7-D30D-FAA5-8F8DF45BA102}"/>
              </a:ext>
            </a:extLst>
          </p:cNvPr>
          <p:cNvCxnSpPr>
            <a:cxnSpLocks/>
            <a:stCxn id="42" idx="6"/>
          </p:cNvCxnSpPr>
          <p:nvPr/>
        </p:nvCxnSpPr>
        <p:spPr>
          <a:xfrm flipV="1">
            <a:off x="7542441" y="4628600"/>
            <a:ext cx="1424033" cy="648005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FBD411F-573F-44C9-3A50-AEFA9977ED9C}"/>
              </a:ext>
            </a:extLst>
          </p:cNvPr>
          <p:cNvCxnSpPr>
            <a:cxnSpLocks/>
            <a:stCxn id="6" idx="3"/>
            <a:endCxn id="42" idx="2"/>
          </p:cNvCxnSpPr>
          <p:nvPr/>
        </p:nvCxnSpPr>
        <p:spPr>
          <a:xfrm>
            <a:off x="3102398" y="4238806"/>
            <a:ext cx="1971069" cy="1037799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rc 48">
            <a:extLst>
              <a:ext uri="{FF2B5EF4-FFF2-40B4-BE49-F238E27FC236}">
                <a16:creationId xmlns:a16="http://schemas.microsoft.com/office/drawing/2014/main" id="{BE111091-6923-6EDB-D85B-A8139707C9FF}"/>
              </a:ext>
            </a:extLst>
          </p:cNvPr>
          <p:cNvSpPr/>
          <p:nvPr/>
        </p:nvSpPr>
        <p:spPr>
          <a:xfrm>
            <a:off x="7162101" y="3346524"/>
            <a:ext cx="679434" cy="1746612"/>
          </a:xfrm>
          <a:prstGeom prst="arc">
            <a:avLst>
              <a:gd name="adj1" fmla="val 16521255"/>
              <a:gd name="adj2" fmla="val 5170620"/>
            </a:avLst>
          </a:prstGeom>
          <a:ln w="19050">
            <a:solidFill>
              <a:schemeClr val="tx1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3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  <a:sym typeface="Arial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D371E0C-5028-C9AE-A026-D1A52BF0874E}"/>
              </a:ext>
            </a:extLst>
          </p:cNvPr>
          <p:cNvCxnSpPr>
            <a:cxnSpLocks/>
          </p:cNvCxnSpPr>
          <p:nvPr/>
        </p:nvCxnSpPr>
        <p:spPr>
          <a:xfrm flipV="1">
            <a:off x="10256658" y="3815865"/>
            <a:ext cx="0" cy="554116"/>
          </a:xfrm>
          <a:prstGeom prst="line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698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0DBF2-97F7-FAE6-4680-3205F62FC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 descr="Example 4 column table">
            <a:extLst>
              <a:ext uri="{FF2B5EF4-FFF2-40B4-BE49-F238E27FC236}">
                <a16:creationId xmlns:a16="http://schemas.microsoft.com/office/drawing/2014/main" id="{6C9331B0-CE0E-1A2E-C125-58C33BC5422D}"/>
              </a:ext>
            </a:extLst>
          </p:cNvPr>
          <p:cNvGraphicFramePr>
            <a:graphicFrameLocks noGrp="1"/>
          </p:cNvGraphicFramePr>
          <p:nvPr>
            <p:ph sz="quarter" idx="12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257879"/>
              </p:ext>
            </p:extLst>
          </p:nvPr>
        </p:nvGraphicFramePr>
        <p:xfrm>
          <a:off x="342901" y="2447076"/>
          <a:ext cx="11506199" cy="34649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46598">
                  <a:extLst>
                    <a:ext uri="{9D8B030D-6E8A-4147-A177-3AD203B41FA5}">
                      <a16:colId xmlns:a16="http://schemas.microsoft.com/office/drawing/2014/main" val="1149605506"/>
                    </a:ext>
                  </a:extLst>
                </a:gridCol>
                <a:gridCol w="8159601">
                  <a:extLst>
                    <a:ext uri="{9D8B030D-6E8A-4147-A177-3AD203B41FA5}">
                      <a16:colId xmlns:a16="http://schemas.microsoft.com/office/drawing/2014/main" val="523764959"/>
                    </a:ext>
                  </a:extLst>
                </a:gridCol>
              </a:tblGrid>
              <a:tr h="4788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cial Interaction Propensity</a:t>
                      </a: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500"/>
                        </a:spcBef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I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iked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being outside</a:t>
                      </a:r>
                    </a:p>
                    <a:p>
                      <a:pPr marL="0" marR="0" lvl="0" indent="0" algn="l" defTabSz="914355" rtl="0" eaLnBrk="1" fontAlgn="t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I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iked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seeing people and having other people around me</a:t>
                      </a:r>
                    </a:p>
                    <a:p>
                      <a:pPr marL="0" marR="0" lvl="0" indent="0" algn="l" defTabSz="914355" rtl="0" eaLnBrk="1" fontAlgn="t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I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njoy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the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social interaction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found at a conventional workplace</a:t>
                      </a:r>
                      <a:endParaRPr lang="en-US" sz="1600" b="1" u="none" strike="noStrik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310183"/>
                  </a:ext>
                </a:extLst>
              </a:tr>
              <a:tr h="739894"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</a:pPr>
                      <a:r>
                        <a:rPr lang="en-US" sz="2400" b="1" dirty="0">
                          <a:solidFill>
                            <a:srgbClr val="FF0000"/>
                          </a:solidFill>
                        </a:rPr>
                        <a:t>Online Activity Inclination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500"/>
                        </a:spcBef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Online learning is a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good alternative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to high school and college level classroom instruction</a:t>
                      </a:r>
                    </a:p>
                    <a:p>
                      <a:pPr marL="0" marR="0" lvl="0" indent="0" algn="l" defTabSz="914355" rtl="0" eaLnBrk="1" fontAlgn="t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Video calling is a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good alternative </a:t>
                      </a: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to in person business meetings</a:t>
                      </a:r>
                    </a:p>
                    <a:p>
                      <a:pPr marL="0" marR="0" lvl="0" indent="0" algn="l" defTabSz="914355" rtl="0" eaLnBrk="1" fontAlgn="t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Learning how to use new technologies is often </a:t>
                      </a: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frustrating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804428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</a:pPr>
                      <a:r>
                        <a:rPr lang="en-US" sz="2400" b="1" dirty="0">
                          <a:solidFill>
                            <a:srgbClr val="FF0000"/>
                          </a:solidFill>
                        </a:rPr>
                        <a:t>Risk Aversion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f I catch the coronavirus, I am concerned that I will have a 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vere reaction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 the coronavirus if I catch it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 am 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cerned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hat friends or family members will have a 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vere reaction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 the coronavirus if they catch it.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ciety is 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verreacting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 the coronavirus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47777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D6F763-33F8-2060-C6F7-052FA6F35A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62F445-6D8E-B797-7048-B15BC62CD6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SP | 2025 Modeling Mobility Conference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4B1B916D-FEE5-40C7-CD40-C454D6C85AD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1373188"/>
            <a:ext cx="8003658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500" b="1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atent Construct Indicators</a:t>
            </a:r>
          </a:p>
        </p:txBody>
      </p:sp>
    </p:spTree>
    <p:extLst>
      <p:ext uri="{BB962C8B-B14F-4D97-AF65-F5344CB8AC3E}">
        <p14:creationId xmlns:p14="http://schemas.microsoft.com/office/powerpoint/2010/main" val="2862932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A07E32-92C3-0743-3540-F8D6C3749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0">
            <a:extLst>
              <a:ext uri="{FF2B5EF4-FFF2-40B4-BE49-F238E27FC236}">
                <a16:creationId xmlns:a16="http://schemas.microsoft.com/office/drawing/2014/main" id="{A9B52F5E-94AF-18A8-9FB3-8B452665F6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" y="0"/>
            <a:ext cx="12191997" cy="6857999"/>
          </a:xfrm>
          <a:custGeom>
            <a:avLst/>
            <a:gdLst>
              <a:gd name="connsiteX0" fmla="*/ 19751212 w 24382408"/>
              <a:gd name="connsiteY0" fmla="*/ 636 h 13715998"/>
              <a:gd name="connsiteX1" fmla="*/ 22997044 w 24382408"/>
              <a:gd name="connsiteY1" fmla="*/ 636 h 13715998"/>
              <a:gd name="connsiteX2" fmla="*/ 22760710 w 24382408"/>
              <a:gd name="connsiteY2" fmla="*/ 2267923 h 13715998"/>
              <a:gd name="connsiteX3" fmla="*/ 24276510 w 24382408"/>
              <a:gd name="connsiteY3" fmla="*/ 4064879 h 13715998"/>
              <a:gd name="connsiteX4" fmla="*/ 24382408 w 24382408"/>
              <a:gd name="connsiteY4" fmla="*/ 4128275 h 13715998"/>
              <a:gd name="connsiteX5" fmla="*/ 24382408 w 24382408"/>
              <a:gd name="connsiteY5" fmla="*/ 8400022 h 13715998"/>
              <a:gd name="connsiteX6" fmla="*/ 24144816 w 24382408"/>
              <a:gd name="connsiteY6" fmla="*/ 8293170 h 13715998"/>
              <a:gd name="connsiteX7" fmla="*/ 23353518 w 24382408"/>
              <a:gd name="connsiteY7" fmla="*/ 7935632 h 13715998"/>
              <a:gd name="connsiteX8" fmla="*/ 21137728 w 24382408"/>
              <a:gd name="connsiteY8" fmla="*/ 6597717 h 13715998"/>
              <a:gd name="connsiteX9" fmla="*/ 19603896 w 24382408"/>
              <a:gd name="connsiteY9" fmla="*/ 4614001 h 13715998"/>
              <a:gd name="connsiteX10" fmla="*/ 19256192 w 24382408"/>
              <a:gd name="connsiteY10" fmla="*/ 2293172 h 13715998"/>
              <a:gd name="connsiteX11" fmla="*/ 19272318 w 24382408"/>
              <a:gd name="connsiteY11" fmla="*/ 2045633 h 13715998"/>
              <a:gd name="connsiteX12" fmla="*/ 19751212 w 24382408"/>
              <a:gd name="connsiteY12" fmla="*/ 636 h 13715998"/>
              <a:gd name="connsiteX13" fmla="*/ 7579116 w 24382408"/>
              <a:gd name="connsiteY13" fmla="*/ 0 h 13715998"/>
              <a:gd name="connsiteX14" fmla="*/ 11287587 w 24382408"/>
              <a:gd name="connsiteY14" fmla="*/ 0 h 13715998"/>
              <a:gd name="connsiteX15" fmla="*/ 15508097 w 24382408"/>
              <a:gd name="connsiteY15" fmla="*/ 11435269 h 13715998"/>
              <a:gd name="connsiteX16" fmla="*/ 14666309 w 24382408"/>
              <a:gd name="connsiteY16" fmla="*/ 13715998 h 13715998"/>
              <a:gd name="connsiteX17" fmla="*/ 12641414 w 24382408"/>
              <a:gd name="connsiteY17" fmla="*/ 13715998 h 13715998"/>
              <a:gd name="connsiteX18" fmla="*/ 0 w 24382408"/>
              <a:gd name="connsiteY18" fmla="*/ 0 h 13715998"/>
              <a:gd name="connsiteX19" fmla="*/ 1339404 w 24382408"/>
              <a:gd name="connsiteY19" fmla="*/ 0 h 13715998"/>
              <a:gd name="connsiteX20" fmla="*/ 5559915 w 24382408"/>
              <a:gd name="connsiteY20" fmla="*/ 11435269 h 13715998"/>
              <a:gd name="connsiteX21" fmla="*/ 4718127 w 24382408"/>
              <a:gd name="connsiteY21" fmla="*/ 13715998 h 13715998"/>
              <a:gd name="connsiteX22" fmla="*/ 2693105 w 24382408"/>
              <a:gd name="connsiteY22" fmla="*/ 13715998 h 13715998"/>
              <a:gd name="connsiteX23" fmla="*/ 0 w 24382408"/>
              <a:gd name="connsiteY23" fmla="*/ 6419195 h 13715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4382408" h="13715998">
                <a:moveTo>
                  <a:pt x="19751212" y="636"/>
                </a:moveTo>
                <a:lnTo>
                  <a:pt x="22997044" y="636"/>
                </a:lnTo>
                <a:cubicBezTo>
                  <a:pt x="22725914" y="489872"/>
                  <a:pt x="22471036" y="1381815"/>
                  <a:pt x="22760710" y="2267923"/>
                </a:cubicBezTo>
                <a:cubicBezTo>
                  <a:pt x="23022446" y="3068896"/>
                  <a:pt x="23577282" y="3614592"/>
                  <a:pt x="24276510" y="4064879"/>
                </a:cubicBezTo>
                <a:lnTo>
                  <a:pt x="24382408" y="4128275"/>
                </a:lnTo>
                <a:lnTo>
                  <a:pt x="24382408" y="8400022"/>
                </a:lnTo>
                <a:lnTo>
                  <a:pt x="24144816" y="8293170"/>
                </a:lnTo>
                <a:cubicBezTo>
                  <a:pt x="23874064" y="8172764"/>
                  <a:pt x="23608012" y="8054515"/>
                  <a:pt x="23353518" y="7935632"/>
                </a:cubicBezTo>
                <a:cubicBezTo>
                  <a:pt x="22571110" y="7570354"/>
                  <a:pt x="21804574" y="7150899"/>
                  <a:pt x="21137728" y="6597717"/>
                </a:cubicBezTo>
                <a:cubicBezTo>
                  <a:pt x="20448660" y="6026138"/>
                  <a:pt x="19925448" y="5453544"/>
                  <a:pt x="19603896" y="4614001"/>
                </a:cubicBezTo>
                <a:cubicBezTo>
                  <a:pt x="19321846" y="3877481"/>
                  <a:pt x="19218344" y="3078792"/>
                  <a:pt x="19256192" y="2293172"/>
                </a:cubicBezTo>
                <a:cubicBezTo>
                  <a:pt x="19260128" y="2210829"/>
                  <a:pt x="19265462" y="2128360"/>
                  <a:pt x="19272318" y="2045633"/>
                </a:cubicBezTo>
                <a:cubicBezTo>
                  <a:pt x="19330608" y="1339438"/>
                  <a:pt x="19457984" y="643013"/>
                  <a:pt x="19751212" y="636"/>
                </a:cubicBezTo>
                <a:close/>
                <a:moveTo>
                  <a:pt x="7579116" y="0"/>
                </a:moveTo>
                <a:lnTo>
                  <a:pt x="11287587" y="0"/>
                </a:lnTo>
                <a:lnTo>
                  <a:pt x="15508097" y="11435269"/>
                </a:lnTo>
                <a:lnTo>
                  <a:pt x="14666309" y="13715998"/>
                </a:lnTo>
                <a:lnTo>
                  <a:pt x="12641414" y="13715998"/>
                </a:lnTo>
                <a:close/>
                <a:moveTo>
                  <a:pt x="0" y="0"/>
                </a:moveTo>
                <a:lnTo>
                  <a:pt x="1339404" y="0"/>
                </a:lnTo>
                <a:lnTo>
                  <a:pt x="5559915" y="11435269"/>
                </a:lnTo>
                <a:lnTo>
                  <a:pt x="4718127" y="13715998"/>
                </a:lnTo>
                <a:lnTo>
                  <a:pt x="2693105" y="13715998"/>
                </a:lnTo>
                <a:lnTo>
                  <a:pt x="0" y="6419195"/>
                </a:lnTo>
                <a:close/>
              </a:path>
            </a:pathLst>
          </a:custGeom>
          <a:solidFill>
            <a:srgbClr val="F9423A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 dirty="0"/>
          </a:p>
        </p:txBody>
      </p:sp>
      <p:pic>
        <p:nvPicPr>
          <p:cNvPr id="27" name="Picture Placeholder 26" descr="A car driving on a bridge over water with a red gradient overlaid">
            <a:extLst>
              <a:ext uri="{FF2B5EF4-FFF2-40B4-BE49-F238E27FC236}">
                <a16:creationId xmlns:a16="http://schemas.microsoft.com/office/drawing/2014/main" id="{6BC362DD-78D7-2BCD-1A41-F73F4E00FD29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8955521-C1E9-A60C-EE0E-A6CFD46CF32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2B6B811-FDBA-854A-F519-28E53AED3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4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A8614-D903-FDBE-A7CD-D100AD92B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5B92EA1-E990-7029-A5A1-11DBDC1D3F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4401" y="343694"/>
            <a:ext cx="1004465" cy="47666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AD74896-55C8-B3DB-E00E-4136009695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3897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AA3B1-6386-DA95-008C-957706592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BC14DCD-6FEC-56CC-1628-FA8B6B8B49C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1" y="1109667"/>
            <a:ext cx="11506199" cy="972000"/>
          </a:xfrm>
        </p:spPr>
        <p:txBody>
          <a:bodyPr/>
          <a:lstStyle/>
          <a:p>
            <a:r>
              <a:rPr lang="en-US" dirty="0"/>
              <a:t>Main Outcom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2A6D32-4444-6976-BCB3-610060472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32EE688-A8E4-477B-8C4A-5E0C5569A9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8712788"/>
              </p:ext>
            </p:extLst>
          </p:nvPr>
        </p:nvGraphicFramePr>
        <p:xfrm>
          <a:off x="7861300" y="533400"/>
          <a:ext cx="4216400" cy="6046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6AC02C8-A3CC-544A-DD7B-8BCA861CE5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7663452"/>
              </p:ext>
            </p:extLst>
          </p:nvPr>
        </p:nvGraphicFramePr>
        <p:xfrm>
          <a:off x="342900" y="2146300"/>
          <a:ext cx="7289799" cy="4314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E46B2F5-C09A-A020-43F7-4AAD91DCF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342900" y="6407378"/>
            <a:ext cx="5732298" cy="107722"/>
          </a:xfrm>
        </p:spPr>
        <p:txBody>
          <a:bodyPr/>
          <a:lstStyle/>
          <a:p>
            <a:r>
              <a:rPr lang="en-US" dirty="0"/>
              <a:t>WSP | 2025 Modeling Mobility Confer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88575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3B8244-8B20-A795-AE51-18C16F8FA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F7E5B0-EA9F-ECB8-7C00-63A5AC3BE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300449-B69A-22DD-A0E8-3FEE1A92EA32}"/>
              </a:ext>
            </a:extLst>
          </p:cNvPr>
          <p:cNvSpPr txBox="1"/>
          <p:nvPr/>
        </p:nvSpPr>
        <p:spPr>
          <a:xfrm>
            <a:off x="1903912" y="1768156"/>
            <a:ext cx="3122796" cy="426482"/>
          </a:xfrm>
          <a:prstGeom prst="roundRect">
            <a:avLst>
              <a:gd name="adj" fmla="val 23886"/>
            </a:avLst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lvl="0" algn="ctr" defTabSz="1219170">
              <a:buClr>
                <a:srgbClr val="000000"/>
              </a:buClr>
              <a:defRPr/>
            </a:pPr>
            <a:r>
              <a:rPr lang="en-US" b="1" kern="0" dirty="0">
                <a:solidFill>
                  <a:schemeClr val="bg1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  <a:sym typeface="Arial"/>
              </a:rPr>
              <a:t>Productivity Chang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35D981-C56F-19F5-62F8-A2713580C7CF}"/>
              </a:ext>
            </a:extLst>
          </p:cNvPr>
          <p:cNvSpPr txBox="1"/>
          <p:nvPr/>
        </p:nvSpPr>
        <p:spPr>
          <a:xfrm>
            <a:off x="7183175" y="1768156"/>
            <a:ext cx="3122796" cy="426482"/>
          </a:xfrm>
          <a:prstGeom prst="roundRect">
            <a:avLst>
              <a:gd name="adj" fmla="val 23886"/>
            </a:avLst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ctr" defTabSz="1219170">
              <a:buClr>
                <a:srgbClr val="000000"/>
              </a:buClr>
              <a:defRPr b="1" kern="0">
                <a:solidFill>
                  <a:schemeClr val="bg1"/>
                </a:solidFill>
                <a:latin typeface="+mj-lt"/>
                <a:ea typeface="Cambria Math" panose="02040503050406030204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Arial"/>
              </a:rPr>
              <a:t>Telecommute Frequency</a:t>
            </a:r>
          </a:p>
        </p:txBody>
      </p:sp>
      <p:sp>
        <p:nvSpPr>
          <p:cNvPr id="12" name="Rectangle: Rounded Corners 16">
            <a:extLst>
              <a:ext uri="{FF2B5EF4-FFF2-40B4-BE49-F238E27FC236}">
                <a16:creationId xmlns:a16="http://schemas.microsoft.com/office/drawing/2014/main" id="{E941BA64-2A88-2D4E-7AF1-B74DC5D07FDE}"/>
              </a:ext>
            </a:extLst>
          </p:cNvPr>
          <p:cNvSpPr/>
          <p:nvPr/>
        </p:nvSpPr>
        <p:spPr>
          <a:xfrm>
            <a:off x="1903909" y="3072232"/>
            <a:ext cx="3100216" cy="3787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Risk Aversion</a:t>
            </a:r>
          </a:p>
        </p:txBody>
      </p:sp>
      <p:sp>
        <p:nvSpPr>
          <p:cNvPr id="15" name="Rectangle: Rounded Corners 16">
            <a:extLst>
              <a:ext uri="{FF2B5EF4-FFF2-40B4-BE49-F238E27FC236}">
                <a16:creationId xmlns:a16="http://schemas.microsoft.com/office/drawing/2014/main" id="{7FA1ECB0-D38E-1FBA-C3BA-6C6B57BD1C21}"/>
              </a:ext>
            </a:extLst>
          </p:cNvPr>
          <p:cNvSpPr/>
          <p:nvPr/>
        </p:nvSpPr>
        <p:spPr>
          <a:xfrm>
            <a:off x="1903908" y="3485478"/>
            <a:ext cx="3097325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18-40 years old</a:t>
            </a:r>
          </a:p>
        </p:txBody>
      </p:sp>
      <p:sp>
        <p:nvSpPr>
          <p:cNvPr id="16" name="Rectangle: Rounded Corners 19">
            <a:extLst>
              <a:ext uri="{FF2B5EF4-FFF2-40B4-BE49-F238E27FC236}">
                <a16:creationId xmlns:a16="http://schemas.microsoft.com/office/drawing/2014/main" id="{C524345D-9237-D6AD-A37F-239E1D0180D9}"/>
              </a:ext>
            </a:extLst>
          </p:cNvPr>
          <p:cNvSpPr/>
          <p:nvPr/>
        </p:nvSpPr>
        <p:spPr>
          <a:xfrm>
            <a:off x="1903912" y="3900780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Part-time worker</a:t>
            </a:r>
          </a:p>
        </p:txBody>
      </p:sp>
      <p:sp>
        <p:nvSpPr>
          <p:cNvPr id="17" name="Rectangle: Rounded Corners 19">
            <a:extLst>
              <a:ext uri="{FF2B5EF4-FFF2-40B4-BE49-F238E27FC236}">
                <a16:creationId xmlns:a16="http://schemas.microsoft.com/office/drawing/2014/main" id="{CD99963F-F452-8BE7-9AFF-E9329E160ECC}"/>
              </a:ext>
            </a:extLst>
          </p:cNvPr>
          <p:cNvSpPr/>
          <p:nvPr/>
        </p:nvSpPr>
        <p:spPr>
          <a:xfrm>
            <a:off x="1903912" y="4314026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Worker-student</a:t>
            </a:r>
          </a:p>
        </p:txBody>
      </p:sp>
      <p:sp>
        <p:nvSpPr>
          <p:cNvPr id="18" name="Rectangle: Rounded Corners 16">
            <a:extLst>
              <a:ext uri="{FF2B5EF4-FFF2-40B4-BE49-F238E27FC236}">
                <a16:creationId xmlns:a16="http://schemas.microsoft.com/office/drawing/2014/main" id="{F058E71C-E79E-8F80-6EBD-BC9471AAC4C5}"/>
              </a:ext>
            </a:extLst>
          </p:cNvPr>
          <p:cNvSpPr/>
          <p:nvPr/>
        </p:nvSpPr>
        <p:spPr>
          <a:xfrm>
            <a:off x="1903413" y="2673292"/>
            <a:ext cx="3100712" cy="3573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Online Activity Inclination</a:t>
            </a:r>
          </a:p>
        </p:txBody>
      </p:sp>
      <p:sp>
        <p:nvSpPr>
          <p:cNvPr id="23" name="Rectangle: Rounded Corners 19">
            <a:extLst>
              <a:ext uri="{FF2B5EF4-FFF2-40B4-BE49-F238E27FC236}">
                <a16:creationId xmlns:a16="http://schemas.microsoft.com/office/drawing/2014/main" id="{53C543B5-7FDD-7543-7AA4-7B1FF4F6EA7E}"/>
              </a:ext>
            </a:extLst>
          </p:cNvPr>
          <p:cNvSpPr/>
          <p:nvPr/>
        </p:nvSpPr>
        <p:spPr>
          <a:xfrm>
            <a:off x="1903912" y="4727272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HH Income &lt; $50,000</a:t>
            </a:r>
          </a:p>
        </p:txBody>
      </p:sp>
      <p:sp>
        <p:nvSpPr>
          <p:cNvPr id="26" name="Rectangle: Rounded Corners 19">
            <a:extLst>
              <a:ext uri="{FF2B5EF4-FFF2-40B4-BE49-F238E27FC236}">
                <a16:creationId xmlns:a16="http://schemas.microsoft.com/office/drawing/2014/main" id="{AC729F3E-E4F5-17F4-0447-36F671C89309}"/>
              </a:ext>
            </a:extLst>
          </p:cNvPr>
          <p:cNvSpPr/>
          <p:nvPr/>
        </p:nvSpPr>
        <p:spPr>
          <a:xfrm>
            <a:off x="1903911" y="5137853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Low Population Density</a:t>
            </a:r>
          </a:p>
        </p:txBody>
      </p:sp>
      <p:sp>
        <p:nvSpPr>
          <p:cNvPr id="29" name="Rectangle: Rounded Corners 16">
            <a:extLst>
              <a:ext uri="{FF2B5EF4-FFF2-40B4-BE49-F238E27FC236}">
                <a16:creationId xmlns:a16="http://schemas.microsoft.com/office/drawing/2014/main" id="{3752CFED-312B-1C48-44E5-8D2593388D0B}"/>
              </a:ext>
            </a:extLst>
          </p:cNvPr>
          <p:cNvSpPr/>
          <p:nvPr/>
        </p:nvSpPr>
        <p:spPr>
          <a:xfrm>
            <a:off x="7205754" y="2673292"/>
            <a:ext cx="3100712" cy="3573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Social Interaction Propensity</a:t>
            </a:r>
          </a:p>
        </p:txBody>
      </p:sp>
      <p:sp>
        <p:nvSpPr>
          <p:cNvPr id="30" name="Rectangle: Rounded Corners 16">
            <a:extLst>
              <a:ext uri="{FF2B5EF4-FFF2-40B4-BE49-F238E27FC236}">
                <a16:creationId xmlns:a16="http://schemas.microsoft.com/office/drawing/2014/main" id="{E85FA947-ADD9-9B2A-4F3B-F12E0623BC87}"/>
              </a:ext>
            </a:extLst>
          </p:cNvPr>
          <p:cNvSpPr/>
          <p:nvPr/>
        </p:nvSpPr>
        <p:spPr>
          <a:xfrm>
            <a:off x="7205755" y="3462393"/>
            <a:ext cx="3100216" cy="3787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Risk Aversion</a:t>
            </a:r>
          </a:p>
        </p:txBody>
      </p:sp>
      <p:sp>
        <p:nvSpPr>
          <p:cNvPr id="31" name="Rectangle: Rounded Corners 16">
            <a:extLst>
              <a:ext uri="{FF2B5EF4-FFF2-40B4-BE49-F238E27FC236}">
                <a16:creationId xmlns:a16="http://schemas.microsoft.com/office/drawing/2014/main" id="{76D307E1-B835-9CB9-DCAD-C2D5843B7C15}"/>
              </a:ext>
            </a:extLst>
          </p:cNvPr>
          <p:cNvSpPr/>
          <p:nvPr/>
        </p:nvSpPr>
        <p:spPr>
          <a:xfrm>
            <a:off x="7205754" y="3875639"/>
            <a:ext cx="3097325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Part-time worker</a:t>
            </a:r>
          </a:p>
        </p:txBody>
      </p:sp>
      <p:sp>
        <p:nvSpPr>
          <p:cNvPr id="32" name="Rectangle: Rounded Corners 19">
            <a:extLst>
              <a:ext uri="{FF2B5EF4-FFF2-40B4-BE49-F238E27FC236}">
                <a16:creationId xmlns:a16="http://schemas.microsoft.com/office/drawing/2014/main" id="{78C165C0-EF22-A3B3-8989-C76CFE4F2BBD}"/>
              </a:ext>
            </a:extLst>
          </p:cNvPr>
          <p:cNvSpPr/>
          <p:nvPr/>
        </p:nvSpPr>
        <p:spPr>
          <a:xfrm>
            <a:off x="7205758" y="4290941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Education: HS or less</a:t>
            </a:r>
          </a:p>
        </p:txBody>
      </p:sp>
      <p:sp>
        <p:nvSpPr>
          <p:cNvPr id="33" name="Rectangle: Rounded Corners 19">
            <a:extLst>
              <a:ext uri="{FF2B5EF4-FFF2-40B4-BE49-F238E27FC236}">
                <a16:creationId xmlns:a16="http://schemas.microsoft.com/office/drawing/2014/main" id="{486822F0-228E-6729-A7EF-E3B8B93D2C0C}"/>
              </a:ext>
            </a:extLst>
          </p:cNvPr>
          <p:cNvSpPr/>
          <p:nvPr/>
        </p:nvSpPr>
        <p:spPr>
          <a:xfrm>
            <a:off x="7205758" y="4704187"/>
            <a:ext cx="3122796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Vehicles in HH: 3 or more</a:t>
            </a:r>
          </a:p>
        </p:txBody>
      </p:sp>
      <p:sp>
        <p:nvSpPr>
          <p:cNvPr id="34" name="Rectangle: Rounded Corners 16">
            <a:extLst>
              <a:ext uri="{FF2B5EF4-FFF2-40B4-BE49-F238E27FC236}">
                <a16:creationId xmlns:a16="http://schemas.microsoft.com/office/drawing/2014/main" id="{8881D9B1-701E-A490-8430-31CE91990D4C}"/>
              </a:ext>
            </a:extLst>
          </p:cNvPr>
          <p:cNvSpPr/>
          <p:nvPr/>
        </p:nvSpPr>
        <p:spPr>
          <a:xfrm>
            <a:off x="7205259" y="3063453"/>
            <a:ext cx="3100712" cy="35730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Online Activity Inclination</a:t>
            </a:r>
          </a:p>
        </p:txBody>
      </p:sp>
      <p:sp>
        <p:nvSpPr>
          <p:cNvPr id="35" name="Rectangle: Rounded Corners 19">
            <a:extLst>
              <a:ext uri="{FF2B5EF4-FFF2-40B4-BE49-F238E27FC236}">
                <a16:creationId xmlns:a16="http://schemas.microsoft.com/office/drawing/2014/main" id="{CF6D85C6-AD55-847F-FCEF-811E07858DDA}"/>
              </a:ext>
            </a:extLst>
          </p:cNvPr>
          <p:cNvSpPr/>
          <p:nvPr/>
        </p:nvSpPr>
        <p:spPr>
          <a:xfrm>
            <a:off x="7205258" y="5117433"/>
            <a:ext cx="3105412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HH Income &lt; $50,000</a:t>
            </a:r>
          </a:p>
        </p:txBody>
      </p:sp>
      <p:sp>
        <p:nvSpPr>
          <p:cNvPr id="36" name="Rectangle: Rounded Corners 19">
            <a:extLst>
              <a:ext uri="{FF2B5EF4-FFF2-40B4-BE49-F238E27FC236}">
                <a16:creationId xmlns:a16="http://schemas.microsoft.com/office/drawing/2014/main" id="{C90335BC-D4B5-B008-9C03-FBC90574AF50}"/>
              </a:ext>
            </a:extLst>
          </p:cNvPr>
          <p:cNvSpPr/>
          <p:nvPr/>
        </p:nvSpPr>
        <p:spPr>
          <a:xfrm>
            <a:off x="7205257" y="5528014"/>
            <a:ext cx="3105412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cs typeface="Times New Roman" panose="02020603050405020304" pitchFamily="18" charset="0"/>
                <a:sym typeface="Arial"/>
              </a:rPr>
              <a:t>HH Income ≥ $150,000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4B4EB5A5-9AE9-1532-CB49-A3BCF12CB40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1" y="1109667"/>
            <a:ext cx="11506199" cy="972000"/>
          </a:xfrm>
        </p:spPr>
        <p:txBody>
          <a:bodyPr/>
          <a:lstStyle/>
          <a:p>
            <a:r>
              <a:rPr lang="en-US" dirty="0"/>
              <a:t>Model Estimation Results</a:t>
            </a:r>
          </a:p>
        </p:txBody>
      </p:sp>
      <p:sp>
        <p:nvSpPr>
          <p:cNvPr id="40" name="Rectangle: Rounded Corners 19">
            <a:extLst>
              <a:ext uri="{FF2B5EF4-FFF2-40B4-BE49-F238E27FC236}">
                <a16:creationId xmlns:a16="http://schemas.microsoft.com/office/drawing/2014/main" id="{FEACB45A-CEF6-F7D6-45E3-6DFD07901601}"/>
              </a:ext>
            </a:extLst>
          </p:cNvPr>
          <p:cNvSpPr/>
          <p:nvPr/>
        </p:nvSpPr>
        <p:spPr>
          <a:xfrm>
            <a:off x="1903410" y="5548434"/>
            <a:ext cx="3123297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  <a:cs typeface="Times New Roman" panose="02020603050405020304" pitchFamily="18" charset="0"/>
                <a:sym typeface="Arial"/>
              </a:rPr>
              <a:t>Homeowner</a:t>
            </a:r>
          </a:p>
        </p:txBody>
      </p:sp>
      <p:sp>
        <p:nvSpPr>
          <p:cNvPr id="41" name="Rectangle: Rounded Corners 19">
            <a:extLst>
              <a:ext uri="{FF2B5EF4-FFF2-40B4-BE49-F238E27FC236}">
                <a16:creationId xmlns:a16="http://schemas.microsoft.com/office/drawing/2014/main" id="{04BF9058-9235-FE54-DB81-DE22BDC59942}"/>
              </a:ext>
            </a:extLst>
          </p:cNvPr>
          <p:cNvSpPr/>
          <p:nvPr/>
        </p:nvSpPr>
        <p:spPr>
          <a:xfrm>
            <a:off x="7205258" y="5936149"/>
            <a:ext cx="3097822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cs typeface="Times New Roman" panose="02020603050405020304" pitchFamily="18" charset="0"/>
                <a:sym typeface="Arial"/>
              </a:rPr>
              <a:t>Commute distance &lt; 5 mi</a:t>
            </a:r>
          </a:p>
        </p:txBody>
      </p:sp>
      <p:sp>
        <p:nvSpPr>
          <p:cNvPr id="42" name="Rectangle: Rounded Corners 19">
            <a:extLst>
              <a:ext uri="{FF2B5EF4-FFF2-40B4-BE49-F238E27FC236}">
                <a16:creationId xmlns:a16="http://schemas.microsoft.com/office/drawing/2014/main" id="{DE3B8B02-E62F-B102-0B7F-BD798B127ECF}"/>
              </a:ext>
            </a:extLst>
          </p:cNvPr>
          <p:cNvSpPr/>
          <p:nvPr/>
        </p:nvSpPr>
        <p:spPr>
          <a:xfrm>
            <a:off x="7205258" y="6336898"/>
            <a:ext cx="3097822" cy="37878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en-US" sz="1600" kern="0" dirty="0">
                <a:solidFill>
                  <a:srgbClr val="000000"/>
                </a:solidFill>
                <a:cs typeface="Times New Roman" panose="02020603050405020304" pitchFamily="18" charset="0"/>
                <a:sym typeface="Arial"/>
              </a:rPr>
              <a:t>Commute mode: transit</a:t>
            </a:r>
          </a:p>
        </p:txBody>
      </p:sp>
      <p:sp>
        <p:nvSpPr>
          <p:cNvPr id="44" name="Plus Sign 43">
            <a:extLst>
              <a:ext uri="{FF2B5EF4-FFF2-40B4-BE49-F238E27FC236}">
                <a16:creationId xmlns:a16="http://schemas.microsoft.com/office/drawing/2014/main" id="{D5CC7A8F-0293-6132-FA92-F45A30776855}"/>
              </a:ext>
            </a:extLst>
          </p:cNvPr>
          <p:cNvSpPr/>
          <p:nvPr/>
        </p:nvSpPr>
        <p:spPr>
          <a:xfrm>
            <a:off x="5862918" y="2033550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Minus Sign 44">
            <a:extLst>
              <a:ext uri="{FF2B5EF4-FFF2-40B4-BE49-F238E27FC236}">
                <a16:creationId xmlns:a16="http://schemas.microsoft.com/office/drawing/2014/main" id="{45460D2F-C0B0-8CC4-88EC-AC992922572D}"/>
              </a:ext>
            </a:extLst>
          </p:cNvPr>
          <p:cNvSpPr/>
          <p:nvPr/>
        </p:nvSpPr>
        <p:spPr>
          <a:xfrm>
            <a:off x="1354090" y="3030599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9529906-718C-C347-604E-F4D36AF1011E}"/>
              </a:ext>
            </a:extLst>
          </p:cNvPr>
          <p:cNvCxnSpPr>
            <a:cxnSpLocks/>
          </p:cNvCxnSpPr>
          <p:nvPr/>
        </p:nvCxnSpPr>
        <p:spPr>
          <a:xfrm flipV="1">
            <a:off x="3465058" y="2295237"/>
            <a:ext cx="0" cy="2881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1239815-B04F-65AB-48D2-A4ACD49502EB}"/>
              </a:ext>
            </a:extLst>
          </p:cNvPr>
          <p:cNvCxnSpPr>
            <a:cxnSpLocks/>
          </p:cNvCxnSpPr>
          <p:nvPr/>
        </p:nvCxnSpPr>
        <p:spPr>
          <a:xfrm flipV="1">
            <a:off x="8776175" y="2275573"/>
            <a:ext cx="0" cy="2881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E303AF2-9653-7B13-542C-C0A46D15D4EA}"/>
              </a:ext>
            </a:extLst>
          </p:cNvPr>
          <p:cNvCxnSpPr>
            <a:cxnSpLocks/>
          </p:cNvCxnSpPr>
          <p:nvPr/>
        </p:nvCxnSpPr>
        <p:spPr>
          <a:xfrm>
            <a:off x="5307122" y="1983119"/>
            <a:ext cx="1673781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Plus Sign 52">
            <a:extLst>
              <a:ext uri="{FF2B5EF4-FFF2-40B4-BE49-F238E27FC236}">
                <a16:creationId xmlns:a16="http://schemas.microsoft.com/office/drawing/2014/main" id="{32E3EEDC-43FA-C846-5D1F-632B9D1FE268}"/>
              </a:ext>
            </a:extLst>
          </p:cNvPr>
          <p:cNvSpPr/>
          <p:nvPr/>
        </p:nvSpPr>
        <p:spPr>
          <a:xfrm>
            <a:off x="1354090" y="2609922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Plus Sign 53">
            <a:extLst>
              <a:ext uri="{FF2B5EF4-FFF2-40B4-BE49-F238E27FC236}">
                <a16:creationId xmlns:a16="http://schemas.microsoft.com/office/drawing/2014/main" id="{E2E6237A-A165-B3FB-66C8-84DCA07D7C5A}"/>
              </a:ext>
            </a:extLst>
          </p:cNvPr>
          <p:cNvSpPr/>
          <p:nvPr/>
        </p:nvSpPr>
        <p:spPr>
          <a:xfrm>
            <a:off x="6674790" y="3415038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Minus Sign 54">
            <a:extLst>
              <a:ext uri="{FF2B5EF4-FFF2-40B4-BE49-F238E27FC236}">
                <a16:creationId xmlns:a16="http://schemas.microsoft.com/office/drawing/2014/main" id="{C496E5EB-5BDB-9E8F-98D6-FAF407F0828C}"/>
              </a:ext>
            </a:extLst>
          </p:cNvPr>
          <p:cNvSpPr/>
          <p:nvPr/>
        </p:nvSpPr>
        <p:spPr>
          <a:xfrm>
            <a:off x="1354090" y="3451276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Minus Sign 55">
            <a:extLst>
              <a:ext uri="{FF2B5EF4-FFF2-40B4-BE49-F238E27FC236}">
                <a16:creationId xmlns:a16="http://schemas.microsoft.com/office/drawing/2014/main" id="{CE38CE35-D746-EF27-1584-F3A42AC17938}"/>
              </a:ext>
            </a:extLst>
          </p:cNvPr>
          <p:cNvSpPr/>
          <p:nvPr/>
        </p:nvSpPr>
        <p:spPr>
          <a:xfrm>
            <a:off x="1354090" y="3844734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Minus Sign 56">
            <a:extLst>
              <a:ext uri="{FF2B5EF4-FFF2-40B4-BE49-F238E27FC236}">
                <a16:creationId xmlns:a16="http://schemas.microsoft.com/office/drawing/2014/main" id="{EF7D2515-2F5E-2462-C30A-7D3A9A62CA27}"/>
              </a:ext>
            </a:extLst>
          </p:cNvPr>
          <p:cNvSpPr/>
          <p:nvPr/>
        </p:nvSpPr>
        <p:spPr>
          <a:xfrm>
            <a:off x="1359239" y="4261393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Minus Sign 57">
            <a:extLst>
              <a:ext uri="{FF2B5EF4-FFF2-40B4-BE49-F238E27FC236}">
                <a16:creationId xmlns:a16="http://schemas.microsoft.com/office/drawing/2014/main" id="{87FA576A-E6B8-8E7E-CCB0-218908BBF627}"/>
              </a:ext>
            </a:extLst>
          </p:cNvPr>
          <p:cNvSpPr/>
          <p:nvPr/>
        </p:nvSpPr>
        <p:spPr>
          <a:xfrm>
            <a:off x="1369071" y="4674639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Minus Sign 58">
            <a:extLst>
              <a:ext uri="{FF2B5EF4-FFF2-40B4-BE49-F238E27FC236}">
                <a16:creationId xmlns:a16="http://schemas.microsoft.com/office/drawing/2014/main" id="{B9B6AB7B-EF2B-6601-4BAA-ABE8947399C7}"/>
              </a:ext>
            </a:extLst>
          </p:cNvPr>
          <p:cNvSpPr/>
          <p:nvPr/>
        </p:nvSpPr>
        <p:spPr>
          <a:xfrm>
            <a:off x="1369071" y="5076491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Plus Sign 59">
            <a:extLst>
              <a:ext uri="{FF2B5EF4-FFF2-40B4-BE49-F238E27FC236}">
                <a16:creationId xmlns:a16="http://schemas.microsoft.com/office/drawing/2014/main" id="{36797606-8891-6B2F-9BEB-064AD4938DC4}"/>
              </a:ext>
            </a:extLst>
          </p:cNvPr>
          <p:cNvSpPr/>
          <p:nvPr/>
        </p:nvSpPr>
        <p:spPr>
          <a:xfrm>
            <a:off x="1369071" y="5493355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lus Sign 60">
            <a:extLst>
              <a:ext uri="{FF2B5EF4-FFF2-40B4-BE49-F238E27FC236}">
                <a16:creationId xmlns:a16="http://schemas.microsoft.com/office/drawing/2014/main" id="{3F9A6F0C-C810-D498-B844-A43D59E742A2}"/>
              </a:ext>
            </a:extLst>
          </p:cNvPr>
          <p:cNvSpPr/>
          <p:nvPr/>
        </p:nvSpPr>
        <p:spPr>
          <a:xfrm>
            <a:off x="6674790" y="3009915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Minus Sign 61">
            <a:extLst>
              <a:ext uri="{FF2B5EF4-FFF2-40B4-BE49-F238E27FC236}">
                <a16:creationId xmlns:a16="http://schemas.microsoft.com/office/drawing/2014/main" id="{84F677CB-5EBC-F346-B147-17FC7BE0248D}"/>
              </a:ext>
            </a:extLst>
          </p:cNvPr>
          <p:cNvSpPr/>
          <p:nvPr/>
        </p:nvSpPr>
        <p:spPr>
          <a:xfrm>
            <a:off x="6674790" y="2609922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Minus Sign 62">
            <a:extLst>
              <a:ext uri="{FF2B5EF4-FFF2-40B4-BE49-F238E27FC236}">
                <a16:creationId xmlns:a16="http://schemas.microsoft.com/office/drawing/2014/main" id="{13B23D09-FDCF-BB4B-7AB2-EFB8D603C229}"/>
              </a:ext>
            </a:extLst>
          </p:cNvPr>
          <p:cNvSpPr/>
          <p:nvPr/>
        </p:nvSpPr>
        <p:spPr>
          <a:xfrm>
            <a:off x="6680417" y="3841437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Minus Sign 63">
            <a:extLst>
              <a:ext uri="{FF2B5EF4-FFF2-40B4-BE49-F238E27FC236}">
                <a16:creationId xmlns:a16="http://schemas.microsoft.com/office/drawing/2014/main" id="{C326F036-0F4F-7F0A-E8DD-A156482B0E3F}"/>
              </a:ext>
            </a:extLst>
          </p:cNvPr>
          <p:cNvSpPr/>
          <p:nvPr/>
        </p:nvSpPr>
        <p:spPr>
          <a:xfrm>
            <a:off x="6685566" y="4228303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Minus Sign 64">
            <a:extLst>
              <a:ext uri="{FF2B5EF4-FFF2-40B4-BE49-F238E27FC236}">
                <a16:creationId xmlns:a16="http://schemas.microsoft.com/office/drawing/2014/main" id="{7C9945BE-A125-2C69-D39B-BBEFA8A6C5A7}"/>
              </a:ext>
            </a:extLst>
          </p:cNvPr>
          <p:cNvSpPr/>
          <p:nvPr/>
        </p:nvSpPr>
        <p:spPr>
          <a:xfrm>
            <a:off x="6685566" y="4651554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Minus Sign 65">
            <a:extLst>
              <a:ext uri="{FF2B5EF4-FFF2-40B4-BE49-F238E27FC236}">
                <a16:creationId xmlns:a16="http://schemas.microsoft.com/office/drawing/2014/main" id="{35968F99-4E0F-CA21-0E87-F8C9737DC3B5}"/>
              </a:ext>
            </a:extLst>
          </p:cNvPr>
          <p:cNvSpPr/>
          <p:nvPr/>
        </p:nvSpPr>
        <p:spPr>
          <a:xfrm>
            <a:off x="6685565" y="5085970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Minus Sign 66">
            <a:extLst>
              <a:ext uri="{FF2B5EF4-FFF2-40B4-BE49-F238E27FC236}">
                <a16:creationId xmlns:a16="http://schemas.microsoft.com/office/drawing/2014/main" id="{7BC9E384-8770-F0D8-EA39-482DE9DFE814}"/>
              </a:ext>
            </a:extLst>
          </p:cNvPr>
          <p:cNvSpPr/>
          <p:nvPr/>
        </p:nvSpPr>
        <p:spPr>
          <a:xfrm>
            <a:off x="6694923" y="5899829"/>
            <a:ext cx="484046" cy="484046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Plus Sign 67">
            <a:extLst>
              <a:ext uri="{FF2B5EF4-FFF2-40B4-BE49-F238E27FC236}">
                <a16:creationId xmlns:a16="http://schemas.microsoft.com/office/drawing/2014/main" id="{F5B94E18-8CEC-ABEE-12A3-1CAB786FA186}"/>
              </a:ext>
            </a:extLst>
          </p:cNvPr>
          <p:cNvSpPr/>
          <p:nvPr/>
        </p:nvSpPr>
        <p:spPr>
          <a:xfrm>
            <a:off x="6685564" y="5488474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lus Sign 68">
            <a:extLst>
              <a:ext uri="{FF2B5EF4-FFF2-40B4-BE49-F238E27FC236}">
                <a16:creationId xmlns:a16="http://schemas.microsoft.com/office/drawing/2014/main" id="{F899D22D-D491-AFEE-4431-7224D7DD2A02}"/>
              </a:ext>
            </a:extLst>
          </p:cNvPr>
          <p:cNvSpPr/>
          <p:nvPr/>
        </p:nvSpPr>
        <p:spPr>
          <a:xfrm>
            <a:off x="6694923" y="6298591"/>
            <a:ext cx="484046" cy="48404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4662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7AE412-DFD7-FF31-610A-4BE61307D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Close-up of a person against a red wall">
            <a:extLst>
              <a:ext uri="{FF2B5EF4-FFF2-40B4-BE49-F238E27FC236}">
                <a16:creationId xmlns:a16="http://schemas.microsoft.com/office/drawing/2014/main" id="{0B14B436-1B30-1E32-2530-7E93DB28D8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25"/>
            <p:custDataLst>
              <p:tags r:id="rId2"/>
            </p:custDataLst>
          </p:nvPr>
        </p:nvPicPr>
        <p:blipFill>
          <a:blip r:embed="rId12"/>
          <a:srcRect/>
          <a:stretch/>
        </p:blipFill>
        <p:spPr/>
      </p:pic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89D14141-7895-3DB7-05C3-5BEB3B6E6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EB7384F-6EAF-A285-7F80-6674A00506A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2900" y="1393340"/>
            <a:ext cx="4524068" cy="971550"/>
          </a:xfrm>
        </p:spPr>
        <p:txBody>
          <a:bodyPr/>
          <a:lstStyle/>
          <a:p>
            <a:r>
              <a:rPr lang="en-US" sz="6000" dirty="0"/>
              <a:t>Takeaways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DFCAB4B5-547B-848E-54FD-F50FCDE7545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-102933" y="3330680"/>
            <a:ext cx="3311630" cy="46577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2000" dirty="0">
                <a:solidFill>
                  <a:schemeClr val="tx1"/>
                </a:solidFill>
              </a:rPr>
              <a:t>More productive individuals </a:t>
            </a:r>
            <a:r>
              <a:rPr lang="en-US" sz="2000" dirty="0">
                <a:solidFill>
                  <a:schemeClr val="tx1"/>
                </a:solidFill>
                <a:highlight>
                  <a:srgbClr val="000000"/>
                </a:highlight>
              </a:rPr>
              <a:t>WFH mor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FFBD74EF-83E2-ED7A-853A-EBF55B686CF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61132" y="4799341"/>
            <a:ext cx="2847565" cy="3119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2000" dirty="0">
                <a:solidFill>
                  <a:schemeClr val="tx1"/>
                </a:solidFill>
              </a:rPr>
              <a:t>Risk averse people are </a:t>
            </a:r>
            <a:r>
              <a:rPr lang="en-US" sz="2000" dirty="0">
                <a:solidFill>
                  <a:schemeClr val="tx1"/>
                </a:solidFill>
                <a:highlight>
                  <a:srgbClr val="000000"/>
                </a:highlight>
              </a:rPr>
              <a:t>less productive</a:t>
            </a:r>
            <a:r>
              <a:rPr lang="en-US" sz="2000" dirty="0">
                <a:solidFill>
                  <a:schemeClr val="tx1"/>
                </a:solidFill>
              </a:rPr>
              <a:t> and </a:t>
            </a:r>
            <a:r>
              <a:rPr lang="en-US" sz="2000" dirty="0">
                <a:solidFill>
                  <a:schemeClr val="tx1"/>
                </a:solidFill>
                <a:highlight>
                  <a:srgbClr val="000000"/>
                </a:highlight>
              </a:rPr>
              <a:t>WFH more 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5F929A6-21E3-9674-CF5C-07AACBC0E76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84723" y="2469212"/>
            <a:ext cx="2461076" cy="46577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Attitudes impact travel choices and preferenc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5106988D-926F-1F15-6D0A-5900591B40D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984723" y="4192148"/>
            <a:ext cx="3089967" cy="46577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Vulnerable societal groups tend to </a:t>
            </a:r>
            <a:r>
              <a:rPr lang="en-US" sz="2000" dirty="0">
                <a:solidFill>
                  <a:schemeClr val="tx1"/>
                </a:solidFill>
                <a:highlight>
                  <a:srgbClr val="000000"/>
                </a:highlight>
              </a:rPr>
              <a:t>WFH les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A9A8969-E55F-8E8C-0B3A-57FBF95DC6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78942" y="2469212"/>
            <a:ext cx="0" cy="333182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E1769E91-EBFA-69DE-02F3-AD0A2E5622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502437" y="2799189"/>
            <a:ext cx="153010" cy="153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5560BF8-4BC6-C05A-781F-F78C34A18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502437" y="3599213"/>
            <a:ext cx="153010" cy="153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432B13D-D622-5DD3-E334-488A5A4A4A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502166" y="4425033"/>
            <a:ext cx="153010" cy="153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FFDD072-119A-6B30-C893-C43888C219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3509183" y="5228620"/>
            <a:ext cx="153010" cy="153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44" name="Footer Placeholder 1">
            <a:extLst>
              <a:ext uri="{FF2B5EF4-FFF2-40B4-BE49-F238E27FC236}">
                <a16:creationId xmlns:a16="http://schemas.microsoft.com/office/drawing/2014/main" id="{27C9C289-96C7-861D-B158-D08DDA89CD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1722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7A692-C49A-4F2B-AA0C-199EFC7EC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Picture Placeholder 240" descr="A close-up of a bridge">
            <a:extLst>
              <a:ext uri="{FF2B5EF4-FFF2-40B4-BE49-F238E27FC236}">
                <a16:creationId xmlns:a16="http://schemas.microsoft.com/office/drawing/2014/main" id="{D9FACF28-F99B-7C5E-DC84-DD285DFF53F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37"/>
            <p:custDataLst>
              <p:tags r:id="rId1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AF767E1-5DD5-5FD7-EBA6-24231EA27CF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2457450"/>
            <a:ext cx="3705503" cy="971550"/>
          </a:xfrm>
        </p:spPr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Next Step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517BB49-36EB-CCC8-4A3E-ACDBE4B1B1A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15601" y="3801769"/>
            <a:ext cx="10506360" cy="22328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indent="-27432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Ongoing Research</a:t>
            </a:r>
          </a:p>
          <a:p>
            <a:pPr marL="91440" indent="-27432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Are there other ways to measure productivity? </a:t>
            </a:r>
          </a:p>
          <a:p>
            <a:pPr marL="91440" indent="-27432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Would 2025 data show different results?</a:t>
            </a:r>
          </a:p>
          <a:p>
            <a:pPr marL="91440" indent="-27432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What are other latent constructs that could shed extra light on this topic?</a:t>
            </a:r>
          </a:p>
          <a:p>
            <a:pPr marL="91440" indent="-27432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How can we use this in travel demand models?</a:t>
            </a:r>
          </a:p>
          <a:p>
            <a:pPr marL="91440" indent="-274320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/>
              </a:solidFill>
            </a:endParaRPr>
          </a:p>
          <a:p>
            <a:pPr marL="91440" indent="-274320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4A01002-F800-D686-A4DF-8ECF1A60A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9ABD3F5B-84BB-215F-5002-CB5B1EA066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6"/>
            <p:custDataLst>
              <p:tags r:id="rId5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6E28DD0-2CB6-1013-01DC-30244B06D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246776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B33AB-4C81-CDB7-0C83-3654B2BB1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Placeholder 75" descr="A person walking on a wet street surrounded by neon lights">
            <a:extLst>
              <a:ext uri="{FF2B5EF4-FFF2-40B4-BE49-F238E27FC236}">
                <a16:creationId xmlns:a16="http://schemas.microsoft.com/office/drawing/2014/main" id="{6C4FD682-875D-AE29-CB26-6BC712DF9301}"/>
              </a:ext>
            </a:extLst>
          </p:cNvPr>
          <p:cNvPicPr>
            <a:picLocks noGrp="1" noChangeAspect="1"/>
          </p:cNvPicPr>
          <p:nvPr>
            <p:ph type="pic" sz="quarter" idx="25"/>
            <p:custDataLst>
              <p:tags r:id="rId2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1" name="Title 30">
            <a:extLst>
              <a:ext uri="{FF2B5EF4-FFF2-40B4-BE49-F238E27FC236}">
                <a16:creationId xmlns:a16="http://schemas.microsoft.com/office/drawing/2014/main" id="{94A1FE25-C0E4-1D27-2E95-3D4F2582BE0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082180"/>
            <a:ext cx="11506199" cy="972000"/>
          </a:xfrm>
        </p:spPr>
        <p:txBody>
          <a:bodyPr anchor="ctr"/>
          <a:lstStyle/>
          <a:p>
            <a:pPr algn="ctr"/>
            <a:r>
              <a:rPr lang="en-US" sz="9600" dirty="0"/>
              <a:t>THANK YOU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3339D3-F491-E155-B218-1AC3FC1E4D88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0DC99-C672-179C-C6EA-7A37ADB70E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888" y="2312498"/>
            <a:ext cx="2438400" cy="302260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E0EA800-7FF1-2032-B461-2C4FC0AAAF0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5508544"/>
            <a:ext cx="4938714" cy="5539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/>
            <a:r>
              <a:rPr lang="en-US" dirty="0"/>
              <a:t>Tassio Magassy, Ph.D.</a:t>
            </a:r>
          </a:p>
          <a:p>
            <a:pPr marL="0" lvl="1"/>
            <a:r>
              <a:rPr lang="en-US" baseline="30000" dirty="0"/>
              <a:t>Tassio.Magassy@wsp.com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3D55C735-EC04-0D6E-9123-0C1A15A78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6976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B49B46-7985-8272-A940-690DC8BAD81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42900" y="1188435"/>
            <a:ext cx="11506199" cy="972000"/>
          </a:xfrm>
        </p:spPr>
        <p:txBody>
          <a:bodyPr/>
          <a:lstStyle/>
          <a:p>
            <a:r>
              <a:rPr lang="en-US" sz="5400" dirty="0"/>
              <a:t>Background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09343A82-3C6F-2229-A0AB-02A155413199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2"/>
            </p:custDataLst>
          </p:nvPr>
        </p:nvSpPr>
        <p:spPr>
          <a:xfrm>
            <a:off x="341208" y="3982277"/>
            <a:ext cx="2621067" cy="1851026"/>
          </a:xfrm>
        </p:spPr>
        <p:txBody>
          <a:bodyPr/>
          <a:lstStyle/>
          <a:p>
            <a:r>
              <a:rPr lang="en-US" dirty="0"/>
              <a:t>Recent Changes in Work Arrangemen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Surge of remote and hybrid work after the pandemic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Permanent or temporary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Who is telecommuting more?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589B596-4399-6758-9A54-7E7FFDEAD8A7}"/>
              </a:ext>
            </a:extLst>
          </p:cNvPr>
          <p:cNvSpPr>
            <a:spLocks noGrp="1"/>
          </p:cNvSpPr>
          <p:nvPr>
            <p:ph type="body" sz="quarter" idx="32"/>
            <p:custDataLst>
              <p:tags r:id="rId3"/>
            </p:custDataLst>
          </p:nvPr>
        </p:nvSpPr>
        <p:spPr>
          <a:xfrm>
            <a:off x="3303589" y="3982277"/>
            <a:ext cx="2617464" cy="1851026"/>
          </a:xfrm>
        </p:spPr>
        <p:txBody>
          <a:bodyPr/>
          <a:lstStyle/>
          <a:p>
            <a:r>
              <a:rPr lang="en-US" dirty="0"/>
              <a:t>Impacts on Productivit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Does telecommuting affect productivity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How to measure productivity changes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Will employers be more flexible in the future?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B97AC37F-B3F0-FAAC-043D-EBAD7E9A8635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4"/>
            </p:custDataLst>
          </p:nvPr>
        </p:nvSpPr>
        <p:spPr>
          <a:xfrm>
            <a:off x="6267530" y="3982277"/>
            <a:ext cx="2846973" cy="1851026"/>
          </a:xfrm>
        </p:spPr>
        <p:txBody>
          <a:bodyPr/>
          <a:lstStyle/>
          <a:p>
            <a:r>
              <a:rPr lang="en-US" dirty="0"/>
              <a:t>Shifts in Travel Behavio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How do attitudes influence perceived productivity and telecommuting frequency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Will people travel less due to telecommuting more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How can we include these factors in travel demand models?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674B0-62F5-F636-8B45-6A95C4695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37"/>
            <p:custDataLst>
              <p:tags r:id="rId5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Espace réservé pour une image  36">
            <a:extLst>
              <a:ext uri="{FF2B5EF4-FFF2-40B4-BE49-F238E27FC236}">
                <a16:creationId xmlns:a16="http://schemas.microsoft.com/office/drawing/2014/main" id="{5C15345C-DD6F-5FCA-ED15-526BCFC898B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621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426" t="43381" r="426" b="30474"/>
          <a:stretch>
            <a:fillRect/>
          </a:stretch>
        </p:blipFill>
        <p:spPr>
          <a:xfrm>
            <a:off x="341001" y="2418735"/>
            <a:ext cx="2617464" cy="1372034"/>
          </a:xfrm>
          <a:prstGeom prst="rect">
            <a:avLst/>
          </a:prstGeom>
        </p:spPr>
      </p:pic>
      <p:pic>
        <p:nvPicPr>
          <p:cNvPr id="8" name="Espace réservé pour une image  9">
            <a:extLst>
              <a:ext uri="{FF2B5EF4-FFF2-40B4-BE49-F238E27FC236}">
                <a16:creationId xmlns:a16="http://schemas.microsoft.com/office/drawing/2014/main" id="{4D0EA318-8D3C-C5A7-74C8-C4E22CCFEF8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53" t="29740" r="853" b="17376"/>
          <a:stretch>
            <a:fillRect/>
          </a:stretch>
        </p:blipFill>
        <p:spPr>
          <a:xfrm>
            <a:off x="6251733" y="2420755"/>
            <a:ext cx="2624458" cy="1370014"/>
          </a:xfrm>
          <a:prstGeom prst="rect">
            <a:avLst/>
          </a:prstGeom>
        </p:spPr>
      </p:pic>
      <p:pic>
        <p:nvPicPr>
          <p:cNvPr id="10" name="Espace réservé pour une image  7">
            <a:extLst>
              <a:ext uri="{FF2B5EF4-FFF2-40B4-BE49-F238E27FC236}">
                <a16:creationId xmlns:a16="http://schemas.microsoft.com/office/drawing/2014/main" id="{2400CE6B-7024-8161-E472-EA6F9614D53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6" t="27073" r="136" b="20158"/>
          <a:stretch>
            <a:fillRect/>
          </a:stretch>
        </p:blipFill>
        <p:spPr>
          <a:xfrm>
            <a:off x="3303589" y="2418734"/>
            <a:ext cx="2636680" cy="1372035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3CF9BA08-9AC5-5B20-1FAB-B79296149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47299" y="6354531"/>
            <a:ext cx="5732298" cy="1077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WSP | 2025 Modeling Mobility Conference</a:t>
            </a:r>
          </a:p>
        </p:txBody>
      </p:sp>
    </p:spTree>
    <p:extLst>
      <p:ext uri="{BB962C8B-B14F-4D97-AF65-F5344CB8AC3E}">
        <p14:creationId xmlns:p14="http://schemas.microsoft.com/office/powerpoint/2010/main" val="755607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27B4A-5ACE-A1D7-110F-A6F2E8B41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301046-8A94-544A-BE40-29D0F7750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7EDE6E-DE32-94E5-9991-66991C9005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3717" y="-177421"/>
            <a:ext cx="3829834" cy="7342495"/>
          </a:xfrm>
          <a:prstGeom prst="rect">
            <a:avLst/>
          </a:prstGeom>
        </p:spPr>
        <p:txBody>
          <a:bodyPr anchor="ctr"/>
          <a:lstStyle>
            <a:lvl1pPr marL="144000" indent="-144000" algn="l" defTabSz="914355" rtl="0" eaLnBrk="1" latinLnBrk="0" hangingPunct="1">
              <a:lnSpc>
                <a:spcPct val="108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2000" indent="-142875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8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4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20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6000" indent="-144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 METHODOLOGY</a:t>
            </a:r>
          </a:p>
          <a:p>
            <a:pPr marL="0" lvl="1" indent="0">
              <a:lnSpc>
                <a:spcPct val="75000"/>
              </a:lnSpc>
              <a:spcAft>
                <a:spcPts val="0"/>
              </a:spcAft>
              <a:buNone/>
            </a:pPr>
            <a:r>
              <a:rPr lang="en-US" sz="3700" b="1" spc="-80" dirty="0">
                <a:solidFill>
                  <a:schemeClr val="accent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  <a:p>
            <a:pPr marL="0" indent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spc="-80" dirty="0">
                <a:solidFill>
                  <a:schemeClr val="tx1"/>
                </a:solidFill>
              </a:rPr>
              <a:t>METHODOLOGY</a:t>
            </a:r>
          </a:p>
        </p:txBody>
      </p:sp>
      <p:graphicFrame>
        <p:nvGraphicFramePr>
          <p:cNvPr id="6" name="Content Placeholder 15">
            <a:extLst>
              <a:ext uri="{FF2B5EF4-FFF2-40B4-BE49-F238E27FC236}">
                <a16:creationId xmlns:a16="http://schemas.microsoft.com/office/drawing/2014/main" id="{00AAF0B0-8B9C-8A6F-25D5-B3FD03885529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268924"/>
              </p:ext>
            </p:extLst>
          </p:nvPr>
        </p:nvGraphicFramePr>
        <p:xfrm>
          <a:off x="5034115" y="1737360"/>
          <a:ext cx="6567949" cy="3749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8205">
                  <a:extLst>
                    <a:ext uri="{9D8B030D-6E8A-4147-A177-3AD203B41FA5}">
                      <a16:colId xmlns:a16="http://schemas.microsoft.com/office/drawing/2014/main" val="1921230091"/>
                    </a:ext>
                  </a:extLst>
                </a:gridCol>
                <a:gridCol w="4819744">
                  <a:extLst>
                    <a:ext uri="{9D8B030D-6E8A-4147-A177-3AD203B41FA5}">
                      <a16:colId xmlns:a16="http://schemas.microsoft.com/office/drawing/2014/main" val="2673440356"/>
                    </a:ext>
                  </a:extLst>
                </a:gridCol>
              </a:tblGrid>
              <a:tr h="512547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accent1"/>
                          </a:solidFill>
                        </a:rPr>
                        <a:t>Data</a:t>
                      </a:r>
                    </a:p>
                  </a:txBody>
                  <a:tcPr marL="0" marR="137160" marT="137160" marB="13716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COVID Future Survey – Wave 3</a:t>
                      </a:r>
                    </a:p>
                  </a:txBody>
                  <a:tcPr marL="0" marR="137160" marT="137160" marB="13716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7171386"/>
                  </a:ext>
                </a:extLst>
              </a:tr>
              <a:tr h="512547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accent1"/>
                          </a:solidFill>
                        </a:rPr>
                        <a:t>Sample</a:t>
                      </a:r>
                    </a:p>
                  </a:txBody>
                  <a:tcPr marL="0" marR="137160" marT="137160" marB="13716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U.S. adults 18+ with the option to work from home (N=979)</a:t>
                      </a:r>
                    </a:p>
                  </a:txBody>
                  <a:tcPr marL="0" marR="137160" marT="137160" marB="13716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738464"/>
                  </a:ext>
                </a:extLst>
              </a:tr>
              <a:tr h="512547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accent1"/>
                          </a:solidFill>
                        </a:rPr>
                        <a:t>Model</a:t>
                      </a:r>
                    </a:p>
                  </a:txBody>
                  <a:tcPr marL="0" marR="137160" marT="137160" marB="13716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Recursive Ordered Probit Model with Latent Factors</a:t>
                      </a:r>
                    </a:p>
                  </a:txBody>
                  <a:tcPr marL="0" marR="137160" marT="137160" marB="13716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3953494"/>
                  </a:ext>
                </a:extLst>
              </a:tr>
              <a:tr h="512547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accent1"/>
                          </a:solidFill>
                        </a:rPr>
                        <a:t>Outcomes</a:t>
                      </a:r>
                    </a:p>
                  </a:txBody>
                  <a:tcPr marL="0" marR="137160" marT="137160" marB="13716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Changes in Perceived Productivity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5-level, ordered: decreased significantly to increased significantly)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Telecommuting Frequency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8-level, ordered: 0 to 7 days in the previous week)</a:t>
                      </a:r>
                    </a:p>
                  </a:txBody>
                  <a:tcPr marL="0" marR="137160" marT="137160" marB="13716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021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740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6">
            <a:extLst>
              <a:ext uri="{FF2B5EF4-FFF2-40B4-BE49-F238E27FC236}">
                <a16:creationId xmlns:a16="http://schemas.microsoft.com/office/drawing/2014/main" id="{1ADADED6-DFAB-0DB4-FDB2-146247D82F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" r="153"/>
          <a:stretch/>
        </p:blipFill>
        <p:spPr>
          <a:xfrm>
            <a:off x="0" y="0"/>
            <a:ext cx="12192000" cy="687897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919CC34-2266-0866-3161-11A7C189FED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2535" y="2899861"/>
            <a:ext cx="11986930" cy="149323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F2718F-B044-99B7-8DEF-173EA61D9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4"/>
            </p:custDataLst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fld id="{91D568E7-61F5-D04E-995D-81EF41C01A2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222754B-77A2-82E1-89AD-38C98F404C72}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7424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BBAA3F-9873-3320-E72A-62B278C43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D7D79BF-0EF7-00D0-818E-FE16BE065B6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42900" y="1373188"/>
            <a:ext cx="4937125" cy="972000"/>
          </a:xfrm>
        </p:spPr>
        <p:txBody>
          <a:bodyPr/>
          <a:lstStyle/>
          <a:p>
            <a:r>
              <a:rPr lang="en-US" dirty="0"/>
              <a:t>COVID Future Surve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57A2EE-9E7D-1C98-CD35-341DDC47B58C}"/>
              </a:ext>
            </a:extLst>
          </p:cNvPr>
          <p:cNvSpPr>
            <a:spLocks noGrp="1"/>
          </p:cNvSpPr>
          <p:nvPr>
            <p:ph sz="quarter" idx="18"/>
            <p:custDataLst>
              <p:tags r:id="rId2"/>
            </p:custDataLst>
          </p:nvPr>
        </p:nvSpPr>
        <p:spPr>
          <a:xfrm>
            <a:off x="342900" y="2158291"/>
            <a:ext cx="5773904" cy="3767138"/>
          </a:xfrm>
        </p:spPr>
        <p:txBody>
          <a:bodyPr/>
          <a:lstStyle/>
          <a:p>
            <a:pPr marL="0" indent="0">
              <a:buSzPct val="100000"/>
              <a:buNone/>
              <a:defRPr/>
            </a:pPr>
            <a:r>
              <a:rPr kumimoji="0" lang="en-US" sz="1600" b="1" i="0" u="none" strike="noStrike" kern="1200" cap="none" spc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sym typeface=""/>
              </a:rPr>
              <a:t>Overview</a:t>
            </a:r>
            <a:endParaRPr lang="en-US" dirty="0">
              <a:latin typeface="Arial" panose="020B0604020202020204" pitchFamily="34" charset="0"/>
              <a:sym typeface=""/>
            </a:endParaRPr>
          </a:p>
          <a:p>
            <a:pPr marL="0"/>
            <a:r>
              <a:rPr lang="en-US" sz="1400" dirty="0"/>
              <a:t>National online longitudinal survey implemented in Qualtrics</a:t>
            </a:r>
          </a:p>
          <a:p>
            <a:pPr marL="0"/>
            <a:r>
              <a:rPr lang="en-US" sz="1400" dirty="0"/>
              <a:t>Recruited through online panel, random email address, and convenience sample</a:t>
            </a:r>
          </a:p>
          <a:p>
            <a:pPr marL="0"/>
            <a:r>
              <a:rPr lang="en-US" sz="1400" dirty="0"/>
              <a:t>Three waves of data collection: </a:t>
            </a:r>
          </a:p>
          <a:p>
            <a:pPr marL="360000" lvl="2"/>
            <a:r>
              <a:rPr lang="en-US" sz="1400" dirty="0"/>
              <a:t>Wave 1 (N = 8,723, April 2020 to October 2020)</a:t>
            </a:r>
          </a:p>
          <a:p>
            <a:pPr marL="360000" lvl="2"/>
            <a:r>
              <a:rPr lang="en-US" sz="1400" dirty="0"/>
              <a:t>Wave 2 (N = 3,093, November 2020 to May 2021)</a:t>
            </a:r>
          </a:p>
          <a:p>
            <a:pPr marL="360000" lvl="2"/>
            <a:r>
              <a:rPr lang="en-US" sz="1400" dirty="0"/>
              <a:t>Wave 3 (N = 2,860, October 2021 to November 2021)</a:t>
            </a:r>
          </a:p>
          <a:p>
            <a:pPr marL="180000" lvl="1"/>
            <a:r>
              <a:rPr lang="en-US" sz="1400" dirty="0"/>
              <a:t>Extensive online survey with over 120 questions</a:t>
            </a:r>
          </a:p>
          <a:p>
            <a:pPr marL="180000" lvl="1"/>
            <a:r>
              <a:rPr lang="en-US" sz="1400" dirty="0"/>
              <a:t>The questions cover a wide variety of subjects including commuting habits, travel choices, work- and study- related questions, shopping, dining, attitudes, activity risk perception… all </a:t>
            </a:r>
            <a:r>
              <a:rPr lang="en-US" sz="1400" b="1" dirty="0">
                <a:solidFill>
                  <a:srgbClr val="FF0000"/>
                </a:solidFill>
              </a:rPr>
              <a:t>before</a:t>
            </a:r>
            <a:r>
              <a:rPr lang="en-US" sz="1400" dirty="0"/>
              <a:t>, </a:t>
            </a:r>
            <a:r>
              <a:rPr lang="en-US" sz="1400" b="1" dirty="0">
                <a:solidFill>
                  <a:srgbClr val="FF0000"/>
                </a:solidFill>
              </a:rPr>
              <a:t>during</a:t>
            </a:r>
            <a:r>
              <a:rPr lang="en-US" sz="1400" dirty="0"/>
              <a:t>, and expected </a:t>
            </a:r>
            <a:r>
              <a:rPr lang="en-US" sz="1400" b="1" dirty="0">
                <a:solidFill>
                  <a:srgbClr val="FF0000"/>
                </a:solidFill>
              </a:rPr>
              <a:t>after the pandemic</a:t>
            </a:r>
          </a:p>
          <a:p>
            <a:pPr marL="180000" lvl="1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816915-51ED-5DFD-B0C1-5816ED9E1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>
          <a:xfrm>
            <a:off x="11205327" y="6407378"/>
            <a:ext cx="643773" cy="107722"/>
          </a:xfr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8" name="Picture 4" descr="aerial-view-traffic-vehicles-driving-highway-bridge-neman-river-kanuas-lithuania">
            <a:extLst>
              <a:ext uri="{FF2B5EF4-FFF2-40B4-BE49-F238E27FC236}">
                <a16:creationId xmlns:a16="http://schemas.microsoft.com/office/drawing/2014/main" id="{BD5969C5-D132-8080-DFFC-770247D409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79"/>
          <a:stretch>
            <a:fillRect/>
          </a:stretch>
        </p:blipFill>
        <p:spPr bwMode="auto">
          <a:xfrm>
            <a:off x="6116804" y="0"/>
            <a:ext cx="607519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F23F7B7-B465-9366-1BCC-C39F331E56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1989" y="31160"/>
            <a:ext cx="1889330" cy="623479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34DFC2A5-91CE-BB90-2FAD-28F4D07E24F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989" y="632300"/>
            <a:ext cx="1889330" cy="4534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5FF4CB5-8344-2F9D-BD97-DBB5B8ED29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425" y="1085738"/>
            <a:ext cx="587978" cy="590604"/>
          </a:xfrm>
          <a:prstGeom prst="rect">
            <a:avLst/>
          </a:prstGeom>
        </p:spPr>
      </p:pic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8DF9CB1-A1E0-8769-E093-DDB4BFD67D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60105" y="6407378"/>
            <a:ext cx="5732298" cy="1077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WSP | 2025 Modeling Mobility Conference</a:t>
            </a:r>
          </a:p>
        </p:txBody>
      </p:sp>
    </p:spTree>
    <p:extLst>
      <p:ext uri="{BB962C8B-B14F-4D97-AF65-F5344CB8AC3E}">
        <p14:creationId xmlns:p14="http://schemas.microsoft.com/office/powerpoint/2010/main" val="2000042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160F02-77CE-C176-32D2-39AEB420F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 descr="Example 4 column table">
            <a:extLst>
              <a:ext uri="{FF2B5EF4-FFF2-40B4-BE49-F238E27FC236}">
                <a16:creationId xmlns:a16="http://schemas.microsoft.com/office/drawing/2014/main" id="{4080AAD2-F883-9E21-F804-93A669C9AC3A}"/>
              </a:ext>
            </a:extLst>
          </p:cNvPr>
          <p:cNvGraphicFramePr>
            <a:graphicFrameLocks noGrp="1"/>
          </p:cNvGraphicFramePr>
          <p:nvPr>
            <p:ph sz="quarter" idx="12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016735"/>
              </p:ext>
            </p:extLst>
          </p:nvPr>
        </p:nvGraphicFramePr>
        <p:xfrm>
          <a:off x="342900" y="2064303"/>
          <a:ext cx="11506199" cy="37974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46598">
                  <a:extLst>
                    <a:ext uri="{9D8B030D-6E8A-4147-A177-3AD203B41FA5}">
                      <a16:colId xmlns:a16="http://schemas.microsoft.com/office/drawing/2014/main" val="1149605506"/>
                    </a:ext>
                  </a:extLst>
                </a:gridCol>
                <a:gridCol w="8159601">
                  <a:extLst>
                    <a:ext uri="{9D8B030D-6E8A-4147-A177-3AD203B41FA5}">
                      <a16:colId xmlns:a16="http://schemas.microsoft.com/office/drawing/2014/main" val="523764959"/>
                    </a:ext>
                  </a:extLst>
                </a:gridCol>
              </a:tblGrid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Demographics </a:t>
                      </a: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ge; gender; race; ethnicity; income; household information; access to high-speed internet/mobile phone; and physical disability</a:t>
                      </a: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310183"/>
                  </a:ext>
                </a:extLst>
              </a:tr>
              <a:tr h="739894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Transportation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vailable vehicles in the household; mode usage frequency; commute to work; air travel before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804428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Work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work status, work from home options, and work productivity</a:t>
                      </a:r>
                      <a:endParaRPr lang="en-US" sz="1600" dirty="0"/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0233199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Study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tudent status and learning characteristics throughout the pandemic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752493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Shopping and Dining Behavior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shopping and dining preferences</a:t>
                      </a:r>
                      <a:r>
                        <a:rPr lang="en-US" sz="1600" dirty="0"/>
                        <a:t>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8359320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Pandemic experience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new ways of living to keep after the pandemic</a:t>
                      </a:r>
                      <a:r>
                        <a:rPr lang="en-US" sz="1600" dirty="0"/>
                        <a:t>; negative impacts from the pandemic; and COVID-19 testing status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6690977"/>
                  </a:ext>
                </a:extLst>
              </a:tr>
              <a:tr h="47886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FF0000"/>
                          </a:solidFill>
                        </a:rPr>
                        <a:t>Attitudes </a:t>
                      </a:r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risk perception</a:t>
                      </a:r>
                      <a:r>
                        <a:rPr lang="en-US" sz="1600" dirty="0"/>
                        <a:t>; socializing preferences; attitudes towards the environment; residential preferences; technology savviness; and </a:t>
                      </a:r>
                      <a:r>
                        <a:rPr lang="en-US" sz="1600" b="1" dirty="0"/>
                        <a:t>views on COVID-19</a:t>
                      </a:r>
                      <a:endParaRPr lang="en-US" sz="1600" dirty="0"/>
                    </a:p>
                  </a:txBody>
                  <a:tcPr marL="52627" marR="52627" marT="26314" marB="2631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47777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E4B11C-9300-8F0A-A664-278B944683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AC5682-7867-48A8-E55A-17BA1FB39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SP | 2025 Modeling Mobility Conference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CF2F921B-425F-7577-21BE-53A4E62FD6E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1373188"/>
            <a:ext cx="4937125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500" b="1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urvey Sections</a:t>
            </a:r>
          </a:p>
        </p:txBody>
      </p:sp>
    </p:spTree>
    <p:extLst>
      <p:ext uri="{BB962C8B-B14F-4D97-AF65-F5344CB8AC3E}">
        <p14:creationId xmlns:p14="http://schemas.microsoft.com/office/powerpoint/2010/main" val="448378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3C804-05B9-2124-5B75-5246E800C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7" name="Diagram 286" descr="Smart art closed chevron process">
            <a:extLst>
              <a:ext uri="{FF2B5EF4-FFF2-40B4-BE49-F238E27FC236}">
                <a16:creationId xmlns:a16="http://schemas.microsoft.com/office/drawing/2014/main" id="{68907141-B12A-BB8A-E326-E9D935E860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5138236"/>
              </p:ext>
            </p:extLst>
          </p:nvPr>
        </p:nvGraphicFramePr>
        <p:xfrm>
          <a:off x="-9611" y="1124465"/>
          <a:ext cx="12201612" cy="5257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85FB8AA-6C2D-2D9A-15F6-460A427161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tudy Sample: Workers able to telecommute</a:t>
            </a:r>
          </a:p>
        </p:txBody>
      </p:sp>
      <p:sp>
        <p:nvSpPr>
          <p:cNvPr id="222" name="Text Placeholder 221">
            <a:extLst>
              <a:ext uri="{FF2B5EF4-FFF2-40B4-BE49-F238E27FC236}">
                <a16:creationId xmlns:a16="http://schemas.microsoft.com/office/drawing/2014/main" id="{ACA66583-84F8-CD25-C120-B167113AF3BA}"/>
              </a:ext>
            </a:extLst>
          </p:cNvPr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344488" y="4799013"/>
            <a:ext cx="2617787" cy="1370012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Wave 3 valid responses</a:t>
            </a:r>
            <a:endParaRPr lang="en-US" dirty="0"/>
          </a:p>
        </p:txBody>
      </p:sp>
      <p:sp>
        <p:nvSpPr>
          <p:cNvPr id="260" name="Text Placeholder 259">
            <a:extLst>
              <a:ext uri="{FF2B5EF4-FFF2-40B4-BE49-F238E27FC236}">
                <a16:creationId xmlns:a16="http://schemas.microsoft.com/office/drawing/2014/main" id="{81B8E2F9-4649-728B-DA59-3EDCF91F11D9}"/>
              </a:ext>
            </a:extLst>
          </p:cNvPr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3773488" y="4799013"/>
            <a:ext cx="2622550" cy="1370012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Workers only</a:t>
            </a:r>
            <a:endParaRPr lang="en-US" dirty="0"/>
          </a:p>
        </p:txBody>
      </p:sp>
      <p:sp>
        <p:nvSpPr>
          <p:cNvPr id="261" name="Text Placeholder 260">
            <a:extLst>
              <a:ext uri="{FF2B5EF4-FFF2-40B4-BE49-F238E27FC236}">
                <a16:creationId xmlns:a16="http://schemas.microsoft.com/office/drawing/2014/main" id="{639D33CF-319D-E9C9-9C78-C28351609BB5}"/>
              </a:ext>
            </a:extLst>
          </p:cNvPr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6748463" y="4799013"/>
            <a:ext cx="2622550" cy="1370012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Can the worker telecommute?</a:t>
            </a:r>
            <a:endParaRPr lang="en-US" dirty="0"/>
          </a:p>
        </p:txBody>
      </p:sp>
      <p:sp>
        <p:nvSpPr>
          <p:cNvPr id="262" name="Text Placeholder 261">
            <a:extLst>
              <a:ext uri="{FF2B5EF4-FFF2-40B4-BE49-F238E27FC236}">
                <a16:creationId xmlns:a16="http://schemas.microsoft.com/office/drawing/2014/main" id="{178812EC-0262-4FD2-B0F3-C8D752A0404A}"/>
              </a:ext>
            </a:extLst>
          </p:cNvPr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9571039" y="4799013"/>
            <a:ext cx="2124074" cy="1370012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rgbClr val="FF0000"/>
                </a:solidFill>
              </a:rPr>
              <a:t>Final data cleaning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A8A3CC-80D5-04A7-2AFB-108D8796C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A8E042-536B-C66A-2FF1-0706B79B4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86376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93352-BABD-7C6E-3D80-97B9E493C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 descr="Example 4 column table">
            <a:extLst>
              <a:ext uri="{FF2B5EF4-FFF2-40B4-BE49-F238E27FC236}">
                <a16:creationId xmlns:a16="http://schemas.microsoft.com/office/drawing/2014/main" id="{066ABAD9-4830-D535-F467-364CBD6D816C}"/>
              </a:ext>
            </a:extLst>
          </p:cNvPr>
          <p:cNvGraphicFramePr>
            <a:graphicFrameLocks noGrp="1"/>
          </p:cNvGraphicFramePr>
          <p:nvPr>
            <p:ph sz="quarter" idx="12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448684"/>
              </p:ext>
            </p:extLst>
          </p:nvPr>
        </p:nvGraphicFramePr>
        <p:xfrm>
          <a:off x="717745" y="2306749"/>
          <a:ext cx="5417574" cy="31215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5261">
                  <a:extLst>
                    <a:ext uri="{9D8B030D-6E8A-4147-A177-3AD203B41FA5}">
                      <a16:colId xmlns:a16="http://schemas.microsoft.com/office/drawing/2014/main" val="1149605506"/>
                    </a:ext>
                  </a:extLst>
                </a:gridCol>
                <a:gridCol w="3161218">
                  <a:extLst>
                    <a:ext uri="{9D8B030D-6E8A-4147-A177-3AD203B41FA5}">
                      <a16:colId xmlns:a16="http://schemas.microsoft.com/office/drawing/2014/main" val="523764959"/>
                    </a:ext>
                  </a:extLst>
                </a:gridCol>
                <a:gridCol w="731095">
                  <a:extLst>
                    <a:ext uri="{9D8B030D-6E8A-4147-A177-3AD203B41FA5}">
                      <a16:colId xmlns:a16="http://schemas.microsoft.com/office/drawing/2014/main" val="822699950"/>
                    </a:ext>
                  </a:extLst>
                </a:gridCol>
              </a:tblGrid>
              <a:tr h="914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Variable </a:t>
                      </a: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310183"/>
                  </a:ext>
                </a:extLst>
              </a:tr>
              <a:tr h="91440">
                <a:tc rowSpan="4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ge Group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-29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1360221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-44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29804428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-64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0233199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+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9752493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Gender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ma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835932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6690977"/>
                  </a:ext>
                </a:extLst>
              </a:tr>
              <a:tr h="91440">
                <a:tc rowSpan="5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Education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me grade/high schoo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5477776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d high school or GE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809294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me college or technical schoo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6516708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chelor's degree(s) or some graduate schoo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237387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leted graduate degree(s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2339578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ispanic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spani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8280121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t Hispani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3369718"/>
                  </a:ext>
                </a:extLst>
              </a:tr>
              <a:tr h="91440">
                <a:tc rowSpan="2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White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hit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4995030"/>
                  </a:ext>
                </a:extLst>
              </a:tr>
              <a:tr h="91440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52627" marR="52627" marT="26314" marB="2631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t White</a:t>
                      </a: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0</a:t>
                      </a: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945825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3CC665-1B72-978E-65DF-E24815655F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173646-3E67-D370-94A8-AE4FD17DC6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SP | 2025 Modeling Mobility Conference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87FBE73-892F-815C-BA76-B72E8298D7F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1373188"/>
            <a:ext cx="4937125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500" b="1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ample Characteristics</a:t>
            </a:r>
          </a:p>
        </p:txBody>
      </p:sp>
      <p:graphicFrame>
        <p:nvGraphicFramePr>
          <p:cNvPr id="4" name="Content Placeholder 6" descr="Example 4 column table">
            <a:extLst>
              <a:ext uri="{FF2B5EF4-FFF2-40B4-BE49-F238E27FC236}">
                <a16:creationId xmlns:a16="http://schemas.microsoft.com/office/drawing/2014/main" id="{CEA63312-61CF-B025-7827-EE78EA3C53CA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87699368"/>
              </p:ext>
            </p:extLst>
          </p:nvPr>
        </p:nvGraphicFramePr>
        <p:xfrm>
          <a:off x="6704719" y="2306751"/>
          <a:ext cx="4641707" cy="25539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06824">
                  <a:extLst>
                    <a:ext uri="{9D8B030D-6E8A-4147-A177-3AD203B41FA5}">
                      <a16:colId xmlns:a16="http://schemas.microsoft.com/office/drawing/2014/main" val="1149605506"/>
                    </a:ext>
                  </a:extLst>
                </a:gridCol>
                <a:gridCol w="2033513">
                  <a:extLst>
                    <a:ext uri="{9D8B030D-6E8A-4147-A177-3AD203B41FA5}">
                      <a16:colId xmlns:a16="http://schemas.microsoft.com/office/drawing/2014/main" val="523764959"/>
                    </a:ext>
                  </a:extLst>
                </a:gridCol>
                <a:gridCol w="1301370">
                  <a:extLst>
                    <a:ext uri="{9D8B030D-6E8A-4147-A177-3AD203B41FA5}">
                      <a16:colId xmlns:a16="http://schemas.microsoft.com/office/drawing/2014/main" val="822699950"/>
                    </a:ext>
                  </a:extLst>
                </a:gridCol>
              </a:tblGrid>
              <a:tr h="231903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Variable </a:t>
                      </a:r>
                    </a:p>
                  </a:txBody>
                  <a:tcPr marL="52627" marR="52627" marT="26314" marB="26314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310183"/>
                  </a:ext>
                </a:extLst>
              </a:tr>
              <a:tr h="193207">
                <a:tc rowSpan="4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H Size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1360221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29804428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0233199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or mor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9752493"/>
                  </a:ext>
                </a:extLst>
              </a:tr>
              <a:tr h="193207">
                <a:tc rowSpan="5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H Vehicles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8359320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6690977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5477776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809294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or mor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6516708"/>
                  </a:ext>
                </a:extLst>
              </a:tr>
              <a:tr h="193207">
                <a:tc rowSpan="3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HH Income</a:t>
                      </a: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ss than $35,0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237387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,000 to $99,9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2339578"/>
                  </a:ext>
                </a:extLst>
              </a:tr>
              <a:tr h="193207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L="52627" marR="52627" marT="26314" marB="26314" anchor="ctr">
                    <a:lnL>
                      <a:noFill/>
                    </a:lnL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100,000 or more</a:t>
                      </a:r>
                    </a:p>
                  </a:txBody>
                  <a:tcPr marL="9525" marR="9525" marT="9525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1.7</a:t>
                      </a:r>
                    </a:p>
                  </a:txBody>
                  <a:tcPr marL="9525" marR="9525" marT="9525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9458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6789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410F69D-4301-0AF1-4EB4-3D4D68295BC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anchor="ctr">
            <a:normAutofit/>
          </a:bodyPr>
          <a:lstStyle/>
          <a:p>
            <a:r>
              <a:rPr lang="en-US" sz="6600" dirty="0"/>
              <a:t>MODEL STRUCTURE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21F2A48E-C37B-621A-2C51-3164F7766D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/>
          <a:p>
            <a:fld id="{91D568E7-61F5-D04E-995D-81EF41C01A2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D80B36-98DC-8B14-92BC-9B171FE66A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50" name="Picture 2" descr="city-shots-at-twilight">
            <a:extLst>
              <a:ext uri="{FF2B5EF4-FFF2-40B4-BE49-F238E27FC236}">
                <a16:creationId xmlns:a16="http://schemas.microsoft.com/office/drawing/2014/main" id="{0749C3C5-AA2B-3082-6613-E2D3021E04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83"/>
          <a:stretch>
            <a:fillRect/>
          </a:stretch>
        </p:blipFill>
        <p:spPr bwMode="auto">
          <a:xfrm>
            <a:off x="5922964" y="0"/>
            <a:ext cx="626903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56DB6FF-532B-D6FC-3DF6-E202F1A7B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6407378"/>
            <a:ext cx="5732298" cy="1077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355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700"/>
              </a:spcAft>
              <a:buSzPct val="95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00" b="1" dirty="0">
                <a:solidFill>
                  <a:srgbClr val="FFFFFF"/>
                </a:solidFill>
                <a:latin typeface="Arial" panose="020B0604020202020204"/>
              </a:rPr>
              <a:t>WSP | </a:t>
            </a:r>
            <a:r>
              <a:rPr lang="en-US" sz="700" b="1" dirty="0"/>
              <a:t>2025 Modeling Mobility Conference</a:t>
            </a:r>
            <a:endParaRPr lang="en-US" sz="7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4918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7551"/>
  <p:tag name="ORIGINAL_HEIGHT" val="74.64189"/>
  <p:tag name="GUIDESTITLESHAP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7551"/>
  <p:tag name="ORIGINAL_HEIGHT" val="74.64189"/>
  <p:tag name="GUIDESTITLESHAP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YOUTNAME" val="Divider"/>
  <p:tag name="SLIDEAUTOMATIONTYPE" val="Divider"/>
  <p:tag name="AUTOMATIONTAG" val="Section Divider"/>
  <p:tag name="SLIDETOCOUTLINELEVEL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60"/>
  <p:tag name="ORIGINAL_HEIGHT" val="404.6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9999"/>
  <p:tag name="ORIGINAL_HEIGHT" val="76.5354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8751"/>
  <p:tag name="ORIGINAL_HEIGHT" val="296.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FOOTERSHAP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  <p:tag name="MASTERTOPMARGIN" val="121.8898"/>
  <p:tag name="MASTERLEFTMARGIN" val="36.2835"/>
  <p:tag name="MASTERRIGHTMARGIN" val="36.2835"/>
  <p:tag name="MASTERBOTTOMMARGIN" val="121.889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  <p:tag name="MASTERTOPMARGIN" val="121.8898"/>
  <p:tag name="MASTERLEFTMARGIN" val="36.2835"/>
  <p:tag name="MASTERRIGHTMARGIN" val="36.2835"/>
  <p:tag name="MASTERBOTTOMMARGIN" val="121.889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UTOOLS_STYLE_NAME" val="Impac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79.4155"/>
  <p:tag name="ORIGINAL_HEIGHT" val="95.564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90.7844"/>
  <p:tag name="ORIGINAL_HEIGHT" val="34.367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90.7844"/>
  <p:tag name="ORIGINAL_HEIGHT" val="34.367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FOOTERSHAPE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8751"/>
  <p:tag name="ORIGINAL_HEIGHT" val="76.5354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8751"/>
  <p:tag name="ORIGINAL_HEIGHT" val="296.7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6"/>
  <p:tag name="ORIGINAL_HEIGHT" val="76.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25"/>
  <p:tag name="ORIGINAL_HEIGHT" val="145.7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25"/>
  <p:tag name="ORIGINAL_HEIGHT" val="145.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  <p:tag name="MASTERTOPMARGIN" val="121.8898"/>
  <p:tag name="MASTERLEFTMARGIN" val="36.2835"/>
  <p:tag name="MASTERRIGHTMARGIN" val="36.2835"/>
  <p:tag name="MASTERBOTTOMMARGIN" val="121.889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25"/>
  <p:tag name="ORIGINAL_HEIGHT" val="145.7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8.5"/>
  <p:tag name="ORIGINAL_WIDTH" val="50.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01.5617"/>
  <p:tag name="ORIGINAL_HEIGHT" val="578.149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499"/>
  <p:tag name="ORIGINAL_HEIGHT" val="30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YOUTNAME" val="Divider"/>
  <p:tag name="SLIDEAUTOMATIONTYPE" val="Divider"/>
  <p:tag name="AUTOMATIONTAG" val="Section Divider"/>
  <p:tag name="SLIDETOCOUTLINELEVEL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541.6512"/>
  <p:tag name="ORIGINAL_WIDTH" val="96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43.75"/>
  <p:tag name="ORIGINAL_HEIGHT" val="117.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  <p:tag name="MASTERTOPMARGIN" val="121.8898"/>
  <p:tag name="MASTERLEFTMARGIN" val="36.2835"/>
  <p:tag name="MASTERRIGHTMARGIN" val="36.2835"/>
  <p:tag name="MASTERBOTTOMMARGIN" val="121.889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79.20992"/>
  <p:tag name="ORIGINAL_HEIGHT" val="37.1859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5"/>
  <p:tag name="ORIGINAL_HEIGHT" val="76.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5"/>
  <p:tag name="ORIGINAL_HEIGHT" val="296.6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17.4533"/>
  <p:tag name="ORIGINAL_HEIGHT" val="364.249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5"/>
  <p:tag name="ORIGINAL_HEIGHT" val="76.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6"/>
  <p:tag name="ORIGINAL_HEIGHT" val="76.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79.4155"/>
  <p:tag name="ORIGINAL_HEIGHT" val="95.564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25"/>
  <p:tag name="ORIGINAL_HEIGHT" val="107.8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5"/>
  <p:tag name="ORIGINAL_HEIGHT" val="107.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5"/>
  <p:tag name="ORIGINAL_HEIGHT" val="107.8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25"/>
  <p:tag name="ORIGINAL_HEIGHT" val="107.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17.4533"/>
  <p:tag name="ORIGINAL_HEIGHT" val="364.249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5"/>
  <p:tag name="ORIGINAL_HEIGHT" val="76.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17.4533"/>
  <p:tag name="ORIGINAL_HEIGHT" val="364.249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YOUTNAME" val="Divider"/>
  <p:tag name="SLIDEAUTOMATIONTYPE" val="Divider"/>
  <p:tag name="AUTOMATIONTAG" val="Section Divider"/>
  <p:tag name="SLIDETOCOUTLINELEVEL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315.625"/>
  <p:tag name="ORIGINAL_WIDTH" val="439.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79.20992"/>
  <p:tag name="ORIGINAL_HEIGHT" val="37.1859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9999"/>
  <p:tag name="ORIGINAL_HEIGHT" val="76.5354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9999"/>
  <p:tag name="ORIGINAL_HEIGHT" val="76.5354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17.4533"/>
  <p:tag name="ORIGINAL_HEIGHT" val="364.249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388.75"/>
  <p:tag name="ORIGINAL_HEIGHT" val="76.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YOUTNAME" val="Divider"/>
  <p:tag name="SLIDEAUTOMATIONTYPE" val="Divider"/>
  <p:tag name="AUTOMATIONTAG" val="Section Divider"/>
  <p:tag name="SLIDETOCOUTLINELEVEL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388.375"/>
  <p:tag name="ORIGINAL_WIDTH" val="804.624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43.8528"/>
  <p:tag name="ORIGINAL_HEIGHT" val="117.57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79.20992"/>
  <p:tag name="ORIGINAL_HEIGHT" val="37.1859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HEMEAPPLIED" val="Primar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9999"/>
  <p:tag name="ORIGINAL_HEIGHT" val="76.5354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75"/>
  <p:tag name="ORIGINAL_HEIGHT" val="8.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HEMEAPPLIED" val="Primary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05.9999"/>
  <p:tag name="ORIGINAL_HEIGHT" val="76.5354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60"/>
  <p:tag name="ORIGINAL_HEIGHT" val="404.6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69079"/>
  <p:tag name="ORIGINAL_HEIGHT" val="8.48204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76.5"/>
  <p:tag name="ORIGINAL_WIDTH" val="206.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21.8898"/>
  <p:tag name="MASTERLEFTMARGIN" val="36.2835"/>
  <p:tag name="MASTERRIGHTMARGIN" val="36.2835"/>
  <p:tag name="MASTERBOTTOMMARGIN" val="121.8898"/>
  <p:tag name="CUSTMASTERTOPMARGIN" val="121.8898"/>
  <p:tag name="CUSTMASTERLEFTMARGIN" val="36.2835"/>
  <p:tag name="CUSTMASTERRIGHTMARGIN" val="36.2835"/>
  <p:tag name="CUSTMASTERBOTTOMMARGIN" val="121.889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716"/>
  <p:tag name="ORIGINAL_HEIGHT" val="36.6748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716"/>
  <p:tag name="ORIGINAL_HEIGHT" val="24.5644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716"/>
  <p:tag name="ORIGINAL_HEIGHT" val="36.67488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716"/>
  <p:tag name="ORIGINAL_HEIGHT" val="36.67488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451.3621"/>
  <p:tag name="ORIGINAL_HEIGHT" val="8.48204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960"/>
  <p:tag name="ORIGINAL_HEIGHT" val="269.87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HEIGHT" val="76.5"/>
  <p:tag name="ORIGINAL_WIDTH" val="206.37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206.1716"/>
  <p:tag name="ORIGINAL_HEIGHT" val="36.67488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79.20992"/>
  <p:tag name="ORIGINAL_HEIGHT" val="37.18599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INAL_WIDTH" val="50.75"/>
  <p:tag name="ORIGINAL_HEIGHT" val="8.5"/>
</p:tagLst>
</file>

<file path=ppt/theme/theme1.xml><?xml version="1.0" encoding="utf-8"?>
<a:theme xmlns:a="http://schemas.openxmlformats.org/drawingml/2006/main" name="2_Office Theme">
  <a:themeElements>
    <a:clrScheme name="__WSP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FF372F"/>
      </a:accent1>
      <a:accent2>
        <a:srgbClr val="CC2126"/>
      </a:accent2>
      <a:accent3>
        <a:srgbClr val="680005"/>
      </a:accent3>
      <a:accent4>
        <a:srgbClr val="9A9A9A"/>
      </a:accent4>
      <a:accent5>
        <a:srgbClr val="CCCCCC"/>
      </a:accent5>
      <a:accent6>
        <a:srgbClr val="E1E1E1"/>
      </a:accent6>
      <a:hlink>
        <a:srgbClr val="000000"/>
      </a:hlink>
      <a:folHlink>
        <a:srgbClr val="4040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ue 1">
      <a:srgbClr val="1594FD"/>
    </a:custClr>
    <a:custClr name="Blue 2">
      <a:srgbClr val="162E76"/>
    </a:custClr>
    <a:custClr name="Orange 1">
      <a:srgbClr val="F35B05"/>
    </a:custClr>
    <a:custClr name="Custom Color 4">
      <a:srgbClr val="C33900"/>
    </a:custClr>
    <a:custClr name="Yellow 1">
      <a:srgbClr val="FFD10A"/>
    </a:custClr>
    <a:custClr name="Yellow 2">
      <a:srgbClr val="FEA513"/>
    </a:custClr>
    <a:custClr name="Green 1">
      <a:srgbClr val="496C1A"/>
    </a:custClr>
    <a:custClr name="Green 2">
      <a:srgbClr val="224807"/>
    </a:custClr>
    <a:custClr name="Brown 1">
      <a:srgbClr val="B16F4F"/>
    </a:custClr>
    <a:custClr name="Brown 2">
      <a:srgbClr val="4C2C00"/>
    </a:custClr>
  </a:custClrLst>
  <a:extLst>
    <a:ext uri="{05A4C25C-085E-4340-85A3-A5531E510DB2}">
      <thm15:themeFamily xmlns:thm15="http://schemas.microsoft.com/office/thememl/2012/main" name="en-us_Presentation_Complete.potx" id="{34ACF24E-FADE-480D-B9BD-605CBFCD9D8F}" vid="{CD50F2DC-E76F-4D70-9E5D-389FCCE74335}"/>
    </a:ext>
  </a:extLst>
</a:theme>
</file>

<file path=ppt/theme/theme2.xml><?xml version="1.0" encoding="utf-8"?>
<a:theme xmlns:a="http://schemas.openxmlformats.org/drawingml/2006/main" name="3_Office Theme">
  <a:themeElements>
    <a:clrScheme name="__WSP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FF372F"/>
      </a:accent1>
      <a:accent2>
        <a:srgbClr val="CC2126"/>
      </a:accent2>
      <a:accent3>
        <a:srgbClr val="680005"/>
      </a:accent3>
      <a:accent4>
        <a:srgbClr val="9A9A9A"/>
      </a:accent4>
      <a:accent5>
        <a:srgbClr val="CCCCCC"/>
      </a:accent5>
      <a:accent6>
        <a:srgbClr val="E1E1E1"/>
      </a:accent6>
      <a:hlink>
        <a:srgbClr val="000000"/>
      </a:hlink>
      <a:folHlink>
        <a:srgbClr val="4040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ue 1">
      <a:srgbClr val="1594FD"/>
    </a:custClr>
    <a:custClr name="Blue 2">
      <a:srgbClr val="162E76"/>
    </a:custClr>
    <a:custClr name="Orange 1">
      <a:srgbClr val="F35B05"/>
    </a:custClr>
    <a:custClr name="Custom Color 4">
      <a:srgbClr val="C33900"/>
    </a:custClr>
    <a:custClr name="Yellow 1">
      <a:srgbClr val="FFD10A"/>
    </a:custClr>
    <a:custClr name="Yellow 2">
      <a:srgbClr val="FEA513"/>
    </a:custClr>
    <a:custClr name="Green 1">
      <a:srgbClr val="496C1A"/>
    </a:custClr>
    <a:custClr name="Green 2">
      <a:srgbClr val="224807"/>
    </a:custClr>
    <a:custClr name="Brown 1">
      <a:srgbClr val="B16F4F"/>
    </a:custClr>
    <a:custClr name="Brown 2">
      <a:srgbClr val="4C2C00"/>
    </a:custClr>
  </a:custClrLst>
  <a:extLst>
    <a:ext uri="{05A4C25C-085E-4340-85A3-A5531E510DB2}">
      <thm15:themeFamily xmlns:thm15="http://schemas.microsoft.com/office/thememl/2012/main" name="en-us_Presentation_Complete_MS.potx" id="{42D68DEF-61F2-470F-BA43-8A259A6E6B14}" vid="{5993988E-148D-4A95-B00A-A0C584A043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9096ad9-8b60-446a-90b7-017dbb9421a3}" enabled="1" method="Standard" siteId="{3d234255-e20f-4205-88a5-9658a402999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2501</TotalTime>
  <Words>1041</Words>
  <Application>Microsoft Office PowerPoint</Application>
  <PresentationFormat>Widescreen</PresentationFormat>
  <Paragraphs>279</Paragraphs>
  <Slides>17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ptos</vt:lpstr>
      <vt:lpstr>Arial</vt:lpstr>
      <vt:lpstr>Calibri</vt:lpstr>
      <vt:lpstr>Times New Roman</vt:lpstr>
      <vt:lpstr>Wingdings</vt:lpstr>
      <vt:lpstr>2_Office Theme</vt:lpstr>
      <vt:lpstr>3_Office Theme</vt:lpstr>
      <vt:lpstr>The Role of Travel Behaviors and Attitudes in Shaping Telecommuting Patterns and Productivity</vt:lpstr>
      <vt:lpstr>Background</vt:lpstr>
      <vt:lpstr>PowerPoint Presentation</vt:lpstr>
      <vt:lpstr>DATA</vt:lpstr>
      <vt:lpstr>COVID Future Survey</vt:lpstr>
      <vt:lpstr>PowerPoint Presentation</vt:lpstr>
      <vt:lpstr>Study Sample: Workers able to telecommute</vt:lpstr>
      <vt:lpstr>PowerPoint Presentation</vt:lpstr>
      <vt:lpstr>MODEL STRUCTURE</vt:lpstr>
      <vt:lpstr>Visual slide with no title</vt:lpstr>
      <vt:lpstr>PowerPoint Presentation</vt:lpstr>
      <vt:lpstr>results</vt:lpstr>
      <vt:lpstr>Main Outcomes</vt:lpstr>
      <vt:lpstr>Model Estimation Results</vt:lpstr>
      <vt:lpstr>Takeaways </vt:lpstr>
      <vt:lpstr>Next Step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olution of Mode Use During Covid-2019: A Focus on Transitions in Transit</dc:title>
  <dc:creator>Irfan BATUR (Student)</dc:creator>
  <cp:lastModifiedBy>Tassio Magassy</cp:lastModifiedBy>
  <cp:revision>36</cp:revision>
  <dcterms:created xsi:type="dcterms:W3CDTF">2022-06-05T01:38:43Z</dcterms:created>
  <dcterms:modified xsi:type="dcterms:W3CDTF">2025-09-14T04:04:51Z</dcterms:modified>
</cp:coreProperties>
</file>